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7"/>
  </p:notesMasterIdLst>
  <p:sldIdLst>
    <p:sldId id="257" r:id="rId2"/>
    <p:sldId id="313" r:id="rId3"/>
    <p:sldId id="303" r:id="rId4"/>
    <p:sldId id="308" r:id="rId5"/>
    <p:sldId id="282" r:id="rId6"/>
    <p:sldId id="305" r:id="rId7"/>
    <p:sldId id="316" r:id="rId8"/>
    <p:sldId id="306" r:id="rId9"/>
    <p:sldId id="321" r:id="rId10"/>
    <p:sldId id="302" r:id="rId11"/>
    <p:sldId id="332" r:id="rId12"/>
    <p:sldId id="333" r:id="rId13"/>
    <p:sldId id="334" r:id="rId14"/>
    <p:sldId id="335" r:id="rId15"/>
    <p:sldId id="336" r:id="rId16"/>
    <p:sldId id="337" r:id="rId17"/>
    <p:sldId id="347" r:id="rId18"/>
    <p:sldId id="341" r:id="rId19"/>
    <p:sldId id="292" r:id="rId20"/>
    <p:sldId id="349" r:id="rId21"/>
    <p:sldId id="350" r:id="rId22"/>
    <p:sldId id="342" r:id="rId23"/>
    <p:sldId id="344" r:id="rId24"/>
    <p:sldId id="345" r:id="rId25"/>
    <p:sldId id="351" r:id="rId26"/>
    <p:sldId id="352" r:id="rId27"/>
    <p:sldId id="353" r:id="rId28"/>
    <p:sldId id="360" r:id="rId29"/>
    <p:sldId id="361" r:id="rId30"/>
    <p:sldId id="354" r:id="rId31"/>
    <p:sldId id="365" r:id="rId32"/>
    <p:sldId id="366" r:id="rId33"/>
    <p:sldId id="374" r:id="rId34"/>
    <p:sldId id="367" r:id="rId35"/>
    <p:sldId id="373" r:id="rId36"/>
    <p:sldId id="369" r:id="rId37"/>
    <p:sldId id="370" r:id="rId38"/>
    <p:sldId id="371" r:id="rId39"/>
    <p:sldId id="372" r:id="rId40"/>
    <p:sldId id="384" r:id="rId41"/>
    <p:sldId id="386" r:id="rId42"/>
    <p:sldId id="387" r:id="rId43"/>
    <p:sldId id="388" r:id="rId44"/>
    <p:sldId id="389" r:id="rId45"/>
    <p:sldId id="390" r:id="rId46"/>
    <p:sldId id="391" r:id="rId47"/>
    <p:sldId id="392" r:id="rId48"/>
    <p:sldId id="393" r:id="rId49"/>
    <p:sldId id="394" r:id="rId50"/>
    <p:sldId id="395" r:id="rId51"/>
    <p:sldId id="396" r:id="rId52"/>
    <p:sldId id="397" r:id="rId53"/>
    <p:sldId id="398" r:id="rId54"/>
    <p:sldId id="399" r:id="rId55"/>
    <p:sldId id="400" r:id="rId56"/>
    <p:sldId id="401" r:id="rId57"/>
    <p:sldId id="402" r:id="rId58"/>
    <p:sldId id="403" r:id="rId59"/>
    <p:sldId id="404" r:id="rId60"/>
    <p:sldId id="405" r:id="rId61"/>
    <p:sldId id="406" r:id="rId62"/>
    <p:sldId id="407" r:id="rId63"/>
    <p:sldId id="408" r:id="rId64"/>
    <p:sldId id="419" r:id="rId65"/>
    <p:sldId id="409" r:id="rId66"/>
    <p:sldId id="410" r:id="rId67"/>
    <p:sldId id="411" r:id="rId68"/>
    <p:sldId id="412" r:id="rId69"/>
    <p:sldId id="413" r:id="rId70"/>
    <p:sldId id="414" r:id="rId71"/>
    <p:sldId id="415" r:id="rId72"/>
    <p:sldId id="416" r:id="rId73"/>
    <p:sldId id="417" r:id="rId74"/>
    <p:sldId id="418" r:id="rId75"/>
    <p:sldId id="420" r:id="rId7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72647" autoAdjust="0"/>
  </p:normalViewPr>
  <p:slideViewPr>
    <p:cSldViewPr>
      <p:cViewPr varScale="1">
        <p:scale>
          <a:sx n="74" d="100"/>
          <a:sy n="74" d="100"/>
        </p:scale>
        <p:origin x="-129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b="1">
                <a:latin typeface="Arial Narrow" pitchFamily="34" charset="0"/>
              </a:defRPr>
            </a:pPr>
            <a:r>
              <a:rPr lang="en-US" b="1" dirty="0">
                <a:latin typeface="Arial Narrow" pitchFamily="34" charset="0"/>
              </a:rPr>
              <a:t>Budget</a:t>
            </a:r>
            <a:r>
              <a:rPr lang="en-US" b="1" baseline="0" dirty="0">
                <a:latin typeface="Arial Narrow" pitchFamily="34" charset="0"/>
              </a:rPr>
              <a:t> Allocations </a:t>
            </a:r>
            <a:endParaRPr lang="en-US" b="1" dirty="0">
              <a:latin typeface="Arial Narrow" pitchFamily="34" charset="0"/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B6-4AD4-BF5F-61F9CD7864E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B6-4AD4-BF5F-61F9CD7864E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60726144"/>
        <c:axId val="260732032"/>
      </c:barChart>
      <c:catAx>
        <c:axId val="2607261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260732032"/>
        <c:crosses val="autoZero"/>
        <c:auto val="1"/>
        <c:lblAlgn val="ctr"/>
        <c:lblOffset val="100"/>
        <c:noMultiLvlLbl val="0"/>
      </c:catAx>
      <c:valAx>
        <c:axId val="260732032"/>
        <c:scaling>
          <c:orientation val="minMax"/>
          <c:max val="5"/>
        </c:scaling>
        <c:delete val="1"/>
        <c:axPos val="l"/>
        <c:numFmt formatCode="General" sourceLinked="1"/>
        <c:majorTickMark val="none"/>
        <c:minorTickMark val="none"/>
        <c:tickLblPos val="nextTo"/>
        <c:crossAx val="260726144"/>
        <c:crosses val="autoZero"/>
        <c:crossBetween val="between"/>
        <c:majorUnit val="5"/>
      </c:valAx>
      <c:spPr>
        <a:noFill/>
        <a:ln w="25400">
          <a:noFill/>
        </a:ln>
      </c:spPr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defRPr>
            </a:pP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Nigeria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- </a:t>
            </a: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Debts</a:t>
            </a:r>
            <a:r>
              <a:rPr lang="yo-NG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Service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 (</a:t>
            </a:r>
            <a:r>
              <a:rPr lang="en-US" sz="1800" strike="dblStrike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N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en-US" sz="1800" baseline="0" dirty="0" err="1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bn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) </a:t>
            </a:r>
            <a:r>
              <a:rPr lang="yo-NG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</a:p>
        </c:rich>
      </c:tx>
      <c:layout>
        <c:manualLayout>
          <c:xMode val="edge"/>
          <c:yMode val="edge"/>
          <c:x val="0.37820037646809301"/>
          <c:y val="0.114461942257217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5678040244969399E-4"/>
          <c:y val="0.16591883104164201"/>
          <c:w val="0.99082568807339499"/>
          <c:h val="0.7373929457447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omestic Debt service</c:v>
                </c:pt>
              </c:strCache>
            </c:strRef>
          </c:tx>
          <c:spPr>
            <a:ln w="57150">
              <a:solidFill>
                <a:schemeClr val="accent6">
                  <a:lumMod val="75000"/>
                </a:schemeClr>
              </a:solidFill>
            </a:ln>
          </c:spPr>
          <c:marker>
            <c:spPr>
              <a:solidFill>
                <a:schemeClr val="accent6">
                  <a:lumMod val="75000"/>
                </a:schemeClr>
              </a:solidFill>
              <a:ln w="57150">
                <a:solidFill>
                  <a:schemeClr val="accent6">
                    <a:lumMod val="7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3.05810397553517E-3"/>
                  <c:y val="-6.84931506849315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4EA-417C-847F-B147EFD746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99.1</c:v>
                </c:pt>
                <c:pt idx="1">
                  <c:v>155.9</c:v>
                </c:pt>
                <c:pt idx="2">
                  <c:v>130.5</c:v>
                </c:pt>
                <c:pt idx="3">
                  <c:v>322.2</c:v>
                </c:pt>
                <c:pt idx="4">
                  <c:v>214.5</c:v>
                </c:pt>
                <c:pt idx="5">
                  <c:v>375.76</c:v>
                </c:pt>
                <c:pt idx="6">
                  <c:v>450.01</c:v>
                </c:pt>
                <c:pt idx="7">
                  <c:v>511.9799999999996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4EA-417C-847F-B147EFD746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xternal Debt Service</c:v>
                </c:pt>
              </c:strCache>
            </c:strRef>
          </c:tx>
          <c:spPr>
            <a:ln w="57150">
              <a:solidFill>
                <a:schemeClr val="accent5">
                  <a:lumMod val="75000"/>
                </a:schemeClr>
              </a:solidFill>
            </a:ln>
          </c:spPr>
          <c:marker>
            <c:spPr>
              <a:solidFill>
                <a:schemeClr val="accent5">
                  <a:lumMod val="75000"/>
                </a:schemeClr>
              </a:solidFill>
              <a:ln w="57150">
                <a:solidFill>
                  <a:schemeClr val="accent5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82262996941896E-2"/>
                  <c:y val="4.1095890410958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4EA-417C-847F-B147EFD74654}"/>
                </c:ext>
              </c:extLst>
            </c:dLbl>
            <c:dLbl>
              <c:idx val="1"/>
              <c:layout>
                <c:manualLayout>
                  <c:x val="-3.3639143730886799E-2"/>
                  <c:y val="4.1095890410958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4EA-417C-847F-B147EFD74654}"/>
                </c:ext>
              </c:extLst>
            </c:dLbl>
            <c:dLbl>
              <c:idx val="2"/>
              <c:layout>
                <c:manualLayout>
                  <c:x val="-3.82262996941896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4EA-417C-847F-B147EFD74654}"/>
                </c:ext>
              </c:extLst>
            </c:dLbl>
            <c:dLbl>
              <c:idx val="3"/>
              <c:layout>
                <c:manualLayout>
                  <c:x val="-2.4464831804281301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4EA-417C-847F-B147EFD74654}"/>
                </c:ext>
              </c:extLst>
            </c:dLbl>
            <c:dLbl>
              <c:idx val="4"/>
              <c:layout>
                <c:manualLayout>
                  <c:x val="-2.9051987767584098E-2"/>
                  <c:y val="2.51141552511414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4EA-417C-847F-B147EFD74654}"/>
                </c:ext>
              </c:extLst>
            </c:dLbl>
            <c:dLbl>
              <c:idx val="5"/>
              <c:layout>
                <c:manualLayout>
                  <c:x val="-2.4464831804281301E-2"/>
                  <c:y val="2.7397260273972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4EA-417C-847F-B147EFD74654}"/>
                </c:ext>
              </c:extLst>
            </c:dLbl>
            <c:dLbl>
              <c:idx val="6"/>
              <c:layout>
                <c:manualLayout>
                  <c:x val="-2.9051987767584098E-2"/>
                  <c:y val="3.42465753424657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4EA-417C-847F-B147EFD74654}"/>
                </c:ext>
              </c:extLst>
            </c:dLbl>
            <c:dLbl>
              <c:idx val="7"/>
              <c:layout>
                <c:manualLayout>
                  <c:x val="-3.3639143730886799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4EA-417C-847F-B147EFD746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194.9</c:v>
                </c:pt>
                <c:pt idx="1">
                  <c:v>118.4</c:v>
                </c:pt>
                <c:pt idx="2">
                  <c:v>103.2</c:v>
                </c:pt>
                <c:pt idx="3">
                  <c:v>59</c:v>
                </c:pt>
                <c:pt idx="4">
                  <c:v>37.200000000000003</c:v>
                </c:pt>
                <c:pt idx="5">
                  <c:v>39.86</c:v>
                </c:pt>
                <c:pt idx="6">
                  <c:v>45.09</c:v>
                </c:pt>
                <c:pt idx="7">
                  <c:v>47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F4EA-417C-847F-B147EFD7465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0936448"/>
        <c:axId val="260937984"/>
      </c:lineChart>
      <c:catAx>
        <c:axId val="260936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260937984"/>
        <c:crosses val="autoZero"/>
        <c:auto val="1"/>
        <c:lblAlgn val="ctr"/>
        <c:lblOffset val="100"/>
        <c:noMultiLvlLbl val="0"/>
      </c:catAx>
      <c:valAx>
        <c:axId val="2609379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260936448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221274556589517"/>
          <c:y val="0.23871939515023299"/>
          <c:w val="0.59903284816670599"/>
          <c:h val="5.7012379049633702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jects </c:v>
                </c:pt>
              </c:strCache>
            </c:strRef>
          </c:tx>
          <c:dLbls>
            <c:dLbl>
              <c:idx val="1"/>
              <c:layout>
                <c:manualLayout>
                  <c:x val="-4.3950432920022903E-2"/>
                  <c:y val="7.3099415204678402E-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53-4DF4-AB65-9BAA4DA273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FCT </c:v>
                </c:pt>
                <c:pt idx="1">
                  <c:v>NIGER DELTA</c:v>
                </c:pt>
                <c:pt idx="2">
                  <c:v>AVIATION</c:v>
                </c:pt>
                <c:pt idx="3">
                  <c:v>DEFENCE</c:v>
                </c:pt>
                <c:pt idx="4">
                  <c:v>EDUCATION </c:v>
                </c:pt>
                <c:pt idx="5">
                  <c:v>HEALTH </c:v>
                </c:pt>
                <c:pt idx="6">
                  <c:v>INTERIOR </c:v>
                </c:pt>
                <c:pt idx="7">
                  <c:v>POLICE</c:v>
                </c:pt>
                <c:pt idx="8">
                  <c:v>POW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2</c:v>
                </c:pt>
                <c:pt idx="1">
                  <c:v>124</c:v>
                </c:pt>
                <c:pt idx="2">
                  <c:v>98</c:v>
                </c:pt>
                <c:pt idx="3">
                  <c:v>203</c:v>
                </c:pt>
                <c:pt idx="4">
                  <c:v>1374</c:v>
                </c:pt>
                <c:pt idx="5">
                  <c:v>968</c:v>
                </c:pt>
                <c:pt idx="6">
                  <c:v>127</c:v>
                </c:pt>
                <c:pt idx="7">
                  <c:v>120</c:v>
                </c:pt>
                <c:pt idx="8">
                  <c:v>5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A53-4DF4-AB65-9BAA4DA2733E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b="1">
                <a:latin typeface="Arial Narrow" pitchFamily="34" charset="0"/>
              </a:defRPr>
            </a:pPr>
            <a:r>
              <a:rPr lang="en-US" b="1" dirty="0">
                <a:latin typeface="Arial Narrow" pitchFamily="34" charset="0"/>
              </a:rPr>
              <a:t>Budget</a:t>
            </a:r>
            <a:r>
              <a:rPr lang="en-US" b="1" baseline="0" dirty="0">
                <a:latin typeface="Arial Narrow" pitchFamily="34" charset="0"/>
              </a:rPr>
              <a:t> Allocations </a:t>
            </a:r>
            <a:endParaRPr lang="en-US" b="1" dirty="0">
              <a:latin typeface="Arial Narrow" pitchFamily="34" charset="0"/>
            </a:endParaRPr>
          </a:p>
        </c:rich>
      </c:tx>
      <c:overlay val="0"/>
    </c:title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04A-4231-8168-15D3D27F71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04A-4231-8168-15D3D27F71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pyramid"/>
        <c:axId val="263553408"/>
        <c:axId val="263554944"/>
        <c:axId val="0"/>
      </c:bar3DChart>
      <c:catAx>
        <c:axId val="2635534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263554944"/>
        <c:crosses val="autoZero"/>
        <c:auto val="1"/>
        <c:lblAlgn val="ctr"/>
        <c:lblOffset val="100"/>
        <c:noMultiLvlLbl val="0"/>
      </c:catAx>
      <c:valAx>
        <c:axId val="263554944"/>
        <c:scaling>
          <c:orientation val="minMax"/>
          <c:max val="5"/>
        </c:scaling>
        <c:delete val="1"/>
        <c:axPos val="l"/>
        <c:numFmt formatCode="General" sourceLinked="1"/>
        <c:majorTickMark val="none"/>
        <c:minorTickMark val="none"/>
        <c:tickLblPos val="nextTo"/>
        <c:crossAx val="263553408"/>
        <c:crosses val="autoZero"/>
        <c:crossBetween val="between"/>
        <c:majorUnit val="5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b="1">
                <a:latin typeface="Arial Narrow" pitchFamily="34" charset="0"/>
              </a:defRPr>
            </a:pPr>
            <a:r>
              <a:rPr lang="en-US" b="1" dirty="0">
                <a:latin typeface="Arial Narrow" pitchFamily="34" charset="0"/>
              </a:rPr>
              <a:t>Budget</a:t>
            </a:r>
            <a:r>
              <a:rPr lang="en-US" b="1" baseline="0" dirty="0">
                <a:latin typeface="Arial Narrow" pitchFamily="34" charset="0"/>
              </a:rPr>
              <a:t> Allocations </a:t>
            </a:r>
            <a:endParaRPr lang="en-US" b="1" dirty="0">
              <a:latin typeface="Arial Narrow" pitchFamily="34" charset="0"/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655-41BE-98CA-004865E1C44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ducation </c:v>
                </c:pt>
                <c:pt idx="1">
                  <c:v>Power</c:v>
                </c:pt>
                <c:pt idx="2">
                  <c:v>Agriculture </c:v>
                </c:pt>
                <c:pt idx="3">
                  <c:v>Health 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655-41BE-98CA-004865E1C44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264922624"/>
        <c:axId val="264924160"/>
      </c:barChart>
      <c:catAx>
        <c:axId val="2649226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264924160"/>
        <c:crosses val="autoZero"/>
        <c:auto val="1"/>
        <c:lblAlgn val="ctr"/>
        <c:lblOffset val="100"/>
        <c:noMultiLvlLbl val="0"/>
      </c:catAx>
      <c:valAx>
        <c:axId val="264924160"/>
        <c:scaling>
          <c:orientation val="minMax"/>
          <c:max val="5"/>
        </c:scaling>
        <c:delete val="1"/>
        <c:axPos val="l"/>
        <c:numFmt formatCode="General" sourceLinked="1"/>
        <c:majorTickMark val="none"/>
        <c:minorTickMark val="none"/>
        <c:tickLblPos val="nextTo"/>
        <c:crossAx val="264922624"/>
        <c:crosses val="autoZero"/>
        <c:crossBetween val="between"/>
        <c:majorUnit val="5"/>
      </c:valAx>
      <c:spPr>
        <a:noFill/>
        <a:ln w="25400">
          <a:noFill/>
        </a:ln>
      </c:spPr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defRPr>
            </a:pP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Nigeria</a:t>
            </a:r>
            <a:r>
              <a:rPr lang="en-US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- </a:t>
            </a: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Debts</a:t>
            </a:r>
            <a:r>
              <a:rPr lang="yo-NG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Service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 (</a:t>
            </a:r>
            <a:r>
              <a:rPr lang="en-US" sz="1800" strike="dblStrike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N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en-US" sz="1800" baseline="0" dirty="0" err="1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bn</a:t>
            </a:r>
            <a:r>
              <a:rPr lang="en-US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) </a:t>
            </a:r>
            <a:r>
              <a:rPr lang="yo-NG" sz="1800" baseline="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yo-NG" sz="1800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</a:t>
            </a:r>
          </a:p>
        </c:rich>
      </c:tx>
      <c:layout>
        <c:manualLayout>
          <c:xMode val="edge"/>
          <c:yMode val="edge"/>
          <c:x val="0.37820037646809301"/>
          <c:y val="0.114461942257217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5678040244969399E-4"/>
          <c:y val="0.16591883104164201"/>
          <c:w val="0.99082568807339499"/>
          <c:h val="0.7373929457447949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omestic Debt service</c:v>
                </c:pt>
              </c:strCache>
            </c:strRef>
          </c:tx>
          <c:spPr>
            <a:ln w="57150">
              <a:solidFill>
                <a:schemeClr val="accent6">
                  <a:lumMod val="75000"/>
                </a:schemeClr>
              </a:solidFill>
            </a:ln>
          </c:spPr>
          <c:marker>
            <c:spPr>
              <a:solidFill>
                <a:schemeClr val="accent6">
                  <a:lumMod val="75000"/>
                </a:schemeClr>
              </a:solidFill>
              <a:ln w="57150">
                <a:solidFill>
                  <a:schemeClr val="accent6">
                    <a:lumMod val="75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3.05810397553517E-3"/>
                  <c:y val="-6.84931506849315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D1-4F02-8589-6E0DF4D676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99.1</c:v>
                </c:pt>
                <c:pt idx="1">
                  <c:v>155.9</c:v>
                </c:pt>
                <c:pt idx="2">
                  <c:v>130.5</c:v>
                </c:pt>
                <c:pt idx="3">
                  <c:v>322.2</c:v>
                </c:pt>
                <c:pt idx="4">
                  <c:v>214.5</c:v>
                </c:pt>
                <c:pt idx="5">
                  <c:v>375.76</c:v>
                </c:pt>
                <c:pt idx="6">
                  <c:v>450.01</c:v>
                </c:pt>
                <c:pt idx="7">
                  <c:v>511.979999999999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BD1-4F02-8589-6E0DF4D6769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xternal Debt Service</c:v>
                </c:pt>
              </c:strCache>
            </c:strRef>
          </c:tx>
          <c:spPr>
            <a:ln w="57150">
              <a:solidFill>
                <a:schemeClr val="accent5">
                  <a:lumMod val="75000"/>
                </a:schemeClr>
              </a:solidFill>
            </a:ln>
          </c:spPr>
          <c:marker>
            <c:spPr>
              <a:solidFill>
                <a:schemeClr val="accent5">
                  <a:lumMod val="75000"/>
                </a:schemeClr>
              </a:solidFill>
              <a:ln w="57150">
                <a:solidFill>
                  <a:schemeClr val="accent5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3.82262996941896E-2"/>
                  <c:y val="4.1095890410958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D1-4F02-8589-6E0DF4D67699}"/>
                </c:ext>
              </c:extLst>
            </c:dLbl>
            <c:dLbl>
              <c:idx val="1"/>
              <c:layout>
                <c:manualLayout>
                  <c:x val="-3.3639143730886799E-2"/>
                  <c:y val="4.1095890410958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D1-4F02-8589-6E0DF4D67699}"/>
                </c:ext>
              </c:extLst>
            </c:dLbl>
            <c:dLbl>
              <c:idx val="2"/>
              <c:layout>
                <c:manualLayout>
                  <c:x val="-3.82262996941896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D1-4F02-8589-6E0DF4D67699}"/>
                </c:ext>
              </c:extLst>
            </c:dLbl>
            <c:dLbl>
              <c:idx val="3"/>
              <c:layout>
                <c:manualLayout>
                  <c:x val="-2.4464831804281301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D1-4F02-8589-6E0DF4D67699}"/>
                </c:ext>
              </c:extLst>
            </c:dLbl>
            <c:dLbl>
              <c:idx val="4"/>
              <c:layout>
                <c:manualLayout>
                  <c:x val="-2.9051987767584098E-2"/>
                  <c:y val="2.51141552511414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D1-4F02-8589-6E0DF4D67699}"/>
                </c:ext>
              </c:extLst>
            </c:dLbl>
            <c:dLbl>
              <c:idx val="5"/>
              <c:layout>
                <c:manualLayout>
                  <c:x val="-2.4464831804281301E-2"/>
                  <c:y val="2.7397260273972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D1-4F02-8589-6E0DF4D67699}"/>
                </c:ext>
              </c:extLst>
            </c:dLbl>
            <c:dLbl>
              <c:idx val="6"/>
              <c:layout>
                <c:manualLayout>
                  <c:x val="-2.9051987767584098E-2"/>
                  <c:y val="3.42465753424657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D1-4F02-8589-6E0DF4D67699}"/>
                </c:ext>
              </c:extLst>
            </c:dLbl>
            <c:dLbl>
              <c:idx val="7"/>
              <c:layout>
                <c:manualLayout>
                  <c:x val="-3.3639143730886799E-2"/>
                  <c:y val="3.6529680365296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BD1-4F02-8589-6E0DF4D676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194.9</c:v>
                </c:pt>
                <c:pt idx="1">
                  <c:v>118.4</c:v>
                </c:pt>
                <c:pt idx="2">
                  <c:v>103.2</c:v>
                </c:pt>
                <c:pt idx="3">
                  <c:v>59</c:v>
                </c:pt>
                <c:pt idx="4">
                  <c:v>37.200000000000003</c:v>
                </c:pt>
                <c:pt idx="5">
                  <c:v>39.86</c:v>
                </c:pt>
                <c:pt idx="6">
                  <c:v>45.09</c:v>
                </c:pt>
                <c:pt idx="7">
                  <c:v>47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3BD1-4F02-8589-6E0DF4D676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64973312"/>
        <c:axId val="265003776"/>
      </c:lineChart>
      <c:catAx>
        <c:axId val="264973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265003776"/>
        <c:crosses val="autoZero"/>
        <c:auto val="1"/>
        <c:lblAlgn val="ctr"/>
        <c:lblOffset val="100"/>
        <c:noMultiLvlLbl val="0"/>
      </c:catAx>
      <c:valAx>
        <c:axId val="2650037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26497331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221274556589517"/>
          <c:y val="0.23871939515023299"/>
          <c:w val="0.59903284816670599"/>
          <c:h val="5.7012379049633702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jects </c:v>
                </c:pt>
              </c:strCache>
            </c:strRef>
          </c:tx>
          <c:dLbls>
            <c:dLbl>
              <c:idx val="1"/>
              <c:layout>
                <c:manualLayout>
                  <c:x val="-4.3950432920022903E-2"/>
                  <c:y val="7.3099415204678402E-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E54-4EFD-AE69-5143F4089B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FCT </c:v>
                </c:pt>
                <c:pt idx="1">
                  <c:v>NIGER DELTA</c:v>
                </c:pt>
                <c:pt idx="2">
                  <c:v>AVIATION</c:v>
                </c:pt>
                <c:pt idx="3">
                  <c:v>DEFENCE</c:v>
                </c:pt>
                <c:pt idx="4">
                  <c:v>EDUCATION </c:v>
                </c:pt>
                <c:pt idx="5">
                  <c:v>HEALTH </c:v>
                </c:pt>
                <c:pt idx="6">
                  <c:v>INTERIOR </c:v>
                </c:pt>
                <c:pt idx="7">
                  <c:v>POLICE</c:v>
                </c:pt>
                <c:pt idx="8">
                  <c:v>POWE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42</c:v>
                </c:pt>
                <c:pt idx="1">
                  <c:v>124</c:v>
                </c:pt>
                <c:pt idx="2">
                  <c:v>98</c:v>
                </c:pt>
                <c:pt idx="3">
                  <c:v>203</c:v>
                </c:pt>
                <c:pt idx="4">
                  <c:v>1374</c:v>
                </c:pt>
                <c:pt idx="5">
                  <c:v>968</c:v>
                </c:pt>
                <c:pt idx="6">
                  <c:v>127</c:v>
                </c:pt>
                <c:pt idx="7">
                  <c:v>120</c:v>
                </c:pt>
                <c:pt idx="8">
                  <c:v>5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54-4EFD-AE69-5143F4089B0A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F58AF7-91AA-41FA-9CB4-EA2084644629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EDDA4-FA0B-4532-B654-8ABC401DC6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909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EDDA4-FA0B-4532-B654-8ABC401DC6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303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yo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62184F-8780-48C2-A7B1-3EBE2930B4A8}" type="slidenum">
              <a:rPr lang="yo-NG" smtClean="0"/>
              <a:pPr/>
              <a:t>28</a:t>
            </a:fld>
            <a:endParaRPr lang="yo-NG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yo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62184F-8780-48C2-A7B1-3EBE2930B4A8}" type="slidenum">
              <a:rPr lang="yo-NG" smtClean="0"/>
              <a:pPr/>
              <a:t>29</a:t>
            </a:fld>
            <a:endParaRPr lang="yo-NG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yo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62184F-8780-48C2-A7B1-3EBE2930B4A8}" type="slidenum">
              <a:rPr lang="yo-NG" smtClean="0"/>
              <a:pPr/>
              <a:t>51</a:t>
            </a:fld>
            <a:endParaRPr lang="yo-NG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yo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62184F-8780-48C2-A7B1-3EBE2930B4A8}" type="slidenum">
              <a:rPr lang="yo-NG" smtClean="0"/>
              <a:pPr/>
              <a:t>52</a:t>
            </a:fld>
            <a:endParaRPr lang="yo-NG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audio" Target="../media/audio1.wav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186879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84410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53431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21883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311439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2447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275324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304644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451462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690177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377011"/>
      </p:ext>
    </p:extLst>
  </p:cSld>
  <p:clrMapOvr>
    <a:masterClrMapping/>
  </p:clrMapOvr>
  <p:transition>
    <p:wipe/>
    <p:sndAc>
      <p:stSnd>
        <p:snd r:embed="rId1" name="applause.wav"/>
      </p:stSnd>
    </p:sndAc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audio" Target="../media/audio1.wav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F9C284-998B-4443-8CB6-5FF0C66AD91D}" type="datetimeFigureOut">
              <a:rPr lang="en-US" smtClean="0"/>
              <a:t>12/1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876A2C-5081-48FD-9825-01BF7C29A2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61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wipe/>
    <p:sndAc>
      <p:stSnd>
        <p:snd r:embed="rId13" name="applause.wav"/>
      </p:stSnd>
    </p:sndAc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25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90600" y="1905000"/>
            <a:ext cx="5597055" cy="26161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</a:rPr>
              <a:t>Data Analysis and</a:t>
            </a:r>
          </a:p>
          <a:p>
            <a:r>
              <a:rPr lang="en-GB" sz="6000" b="1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</a:rPr>
              <a:t>Visualisation</a:t>
            </a:r>
          </a:p>
          <a:p>
            <a:r>
              <a:rPr lang="en-GB" sz="4400" b="1" dirty="0">
                <a:solidFill>
                  <a:srgbClr val="FF0000"/>
                </a:solidFill>
                <a:latin typeface="Arial Narrow" pitchFamily="34" charset="0"/>
              </a:rPr>
              <a:t>Training Manual </a:t>
            </a:r>
            <a:endParaRPr lang="en-US" sz="44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2" name="Picture 1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898870"/>
      </p:ext>
    </p:extLst>
  </p:cSld>
  <p:clrMapOvr>
    <a:masterClrMapping/>
  </p:clrMapOvr>
  <p:transition>
    <p:wipe/>
    <p:sndAc>
      <p:stSnd>
        <p:snd r:embed="rId3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685800" y="838200"/>
            <a:ext cx="8229600" cy="1143000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 Narrow" pitchFamily="34" charset="0"/>
              </a:rPr>
              <a:t/>
            </a:r>
            <a:br>
              <a:rPr lang="en-US" sz="3200" dirty="0">
                <a:latin typeface="Arial Narrow" pitchFamily="34" charset="0"/>
              </a:rPr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b="1" dirty="0">
                <a:latin typeface="Arial Narrow" pitchFamily="34" charset="0"/>
              </a:rPr>
              <a:t>2.0 </a:t>
            </a:r>
            <a:r>
              <a:rPr lang="en-US" sz="2000" b="1" dirty="0"/>
              <a:t>  </a:t>
            </a:r>
            <a:r>
              <a:rPr lang="en-US" sz="2400" b="1" dirty="0"/>
              <a:t>Data Lifecycle, Storytelling &amp; Visualisation 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3200" dirty="0">
                <a:latin typeface="Arial Narrow" pitchFamily="34" charset="0"/>
              </a:rPr>
              <a:t/>
            </a:r>
            <a:br>
              <a:rPr lang="en-US" sz="3200" dirty="0">
                <a:latin typeface="Arial Narrow" pitchFamily="34" charset="0"/>
              </a:rPr>
            </a:b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447800"/>
            <a:ext cx="8229600" cy="578004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0" indent="0"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Collection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Entry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Validation and Improvement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Restructuring the Metrics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Publishing and Communication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Feedback Integration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Basic Microsoft Excel Class </a:t>
            </a: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r>
              <a:rPr lang="en-US" sz="2800" dirty="0">
                <a:latin typeface="Arial Narrow" pitchFamily="34" charset="0"/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0960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159720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81000"/>
            <a:ext cx="8229600" cy="1066800"/>
          </a:xfrm>
        </p:spPr>
        <p:txBody>
          <a:bodyPr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Data  Mining Proc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78830" y="3863803"/>
            <a:ext cx="1558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Entry  </a:t>
            </a:r>
          </a:p>
        </p:txBody>
      </p:sp>
      <p:sp>
        <p:nvSpPr>
          <p:cNvPr id="17" name="Pentagon 16"/>
          <p:cNvSpPr/>
          <p:nvPr/>
        </p:nvSpPr>
        <p:spPr>
          <a:xfrm>
            <a:off x="338919" y="1716399"/>
            <a:ext cx="5062100" cy="4114800"/>
          </a:xfrm>
          <a:prstGeom prst="homePlat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Collection </a:t>
            </a:r>
          </a:p>
          <a:p>
            <a:pPr marL="342900" indent="-34290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Entry </a:t>
            </a:r>
          </a:p>
          <a:p>
            <a:pPr marL="342900" indent="-34290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Validation &amp; Improvement</a:t>
            </a:r>
          </a:p>
          <a:p>
            <a:pPr marL="342900" indent="-34290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Restructuring the Metrics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Advanced Data Analysis 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Data Publishing 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Feedback Integration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637638" y="1600200"/>
            <a:ext cx="3277762" cy="39703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Understanding the data lifecycle 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Identify the challenges. 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Tell Process improvement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Look at another angle 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Validation Methods &amp; Interlinked Formats 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Identify the Core Metrics to simulate </a:t>
            </a:r>
          </a:p>
        </p:txBody>
      </p:sp>
      <p:pic>
        <p:nvPicPr>
          <p:cNvPr id="6" name="Picture 5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848072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066800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rial Narrow" pitchFamily="34" charset="0"/>
              </a:rPr>
              <a:t>Data Collection</a:t>
            </a:r>
            <a:br>
              <a:rPr lang="en-US" sz="3200" b="1" dirty="0">
                <a:latin typeface="Arial Narrow" pitchFamily="34" charset="0"/>
              </a:rPr>
            </a:br>
            <a:endParaRPr lang="en-US" sz="32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42288"/>
            <a:ext cx="8229600" cy="4325112"/>
          </a:xfrm>
        </p:spPr>
        <p:txBody>
          <a:bodyPr/>
          <a:lstStyle/>
          <a:p>
            <a:r>
              <a:rPr lang="en-US" sz="2400" dirty="0">
                <a:latin typeface="Arial Narrow" pitchFamily="34" charset="0"/>
              </a:rPr>
              <a:t>Identify the primary sources per data </a:t>
            </a:r>
          </a:p>
          <a:p>
            <a:r>
              <a:rPr lang="en-US" sz="2400" dirty="0">
                <a:latin typeface="Arial Narrow" pitchFamily="34" charset="0"/>
              </a:rPr>
              <a:t>Define Platforms of Data  Collections </a:t>
            </a:r>
          </a:p>
          <a:p>
            <a:pPr>
              <a:buFont typeface="Wingdings" pitchFamily="2" charset="2"/>
              <a:buChar char="ü"/>
            </a:pPr>
            <a:r>
              <a:rPr lang="en-US" sz="1800" dirty="0">
                <a:latin typeface="Arial Narrow" pitchFamily="34" charset="0"/>
              </a:rPr>
              <a:t>Web </a:t>
            </a:r>
          </a:p>
          <a:p>
            <a:pPr>
              <a:buFont typeface="Wingdings" pitchFamily="2" charset="2"/>
              <a:buChar char="ü"/>
            </a:pPr>
            <a:r>
              <a:rPr lang="en-US" sz="1800" dirty="0">
                <a:latin typeface="Arial Narrow" pitchFamily="34" charset="0"/>
              </a:rPr>
              <a:t>Direct Mail </a:t>
            </a:r>
            <a:endParaRPr lang="en-US" sz="2400" dirty="0">
              <a:latin typeface="Arial Narrow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Arial Narrow" pitchFamily="34" charset="0"/>
              </a:rPr>
              <a:t>Choose bracket of data  that needs  further validation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Arial Narrow" pitchFamily="34" charset="0"/>
              </a:rPr>
              <a:t>Define the Entry Approach  </a:t>
            </a:r>
          </a:p>
          <a:p>
            <a:endParaRPr lang="en-US" dirty="0"/>
          </a:p>
          <a:p>
            <a:endParaRPr lang="en-US" dirty="0"/>
          </a:p>
          <a:p>
            <a:pPr marL="109728" indent="0">
              <a:buNone/>
            </a:pP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4267200"/>
            <a:ext cx="914400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52400" y="4517099"/>
            <a:ext cx="108204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itchFamily="34" charset="0"/>
              <a:buChar char="•"/>
            </a:pPr>
            <a:r>
              <a:rPr lang="en-US" sz="1600" dirty="0">
                <a:latin typeface="Arial Narrow" pitchFamily="34" charset="0"/>
              </a:rPr>
              <a:t>Do we at anytime have certain doubts over data provided by a source organisation which forms a wrong basis 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en-US" sz="1600" dirty="0">
                <a:latin typeface="Arial Narrow" pitchFamily="34" charset="0"/>
              </a:rPr>
              <a:t>of  judgment  for non- partisan  analysis</a:t>
            </a:r>
            <a:r>
              <a:rPr lang="en-US" sz="1600" dirty="0"/>
              <a:t>? </a:t>
            </a:r>
          </a:p>
          <a:p>
            <a:pPr algn="just"/>
            <a:endParaRPr lang="en-US" sz="1600" b="1" dirty="0"/>
          </a:p>
        </p:txBody>
      </p:sp>
      <p:sp>
        <p:nvSpPr>
          <p:cNvPr id="7" name="Rectangle 6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6230657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8990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57200"/>
            <a:ext cx="8229600" cy="10668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Arial Narrow" pitchFamily="34" charset="0"/>
              </a:rPr>
              <a:t>Data Entry </a:t>
            </a:r>
            <a:r>
              <a:rPr lang="en-US" dirty="0">
                <a:latin typeface="Arial Narrow" pitchFamily="34" charset="0"/>
              </a:rPr>
              <a:t/>
            </a:r>
            <a:br>
              <a:rPr lang="en-US" dirty="0">
                <a:latin typeface="Arial Narrow" pitchFamily="34" charset="0"/>
              </a:rPr>
            </a:br>
            <a:endParaRPr lang="en-US" dirty="0">
              <a:latin typeface="Arial Narrow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219200"/>
            <a:ext cx="8229600" cy="4325112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Arial Narrow" pitchFamily="34" charset="0"/>
              </a:rPr>
              <a:t>Cleaning Up Approach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 Narrow" pitchFamily="34" charset="0"/>
              </a:rPr>
              <a:t>Re-entry Approach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 Narrow" pitchFamily="34" charset="0"/>
              </a:rPr>
              <a:t>Dynamic Generation &amp; Approach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 Narrow" pitchFamily="34" charset="0"/>
              </a:rPr>
              <a:t>Data Mining and Analytics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 Narrow" pitchFamily="34" charset="0"/>
              </a:rPr>
              <a:t>Managing Data Overhead from the Sources 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4876800"/>
            <a:ext cx="914400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99837" y="4942582"/>
            <a:ext cx="10820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Arial" pitchFamily="34" charset="0"/>
              <a:buChar char="•"/>
            </a:pPr>
            <a:r>
              <a:rPr lang="en-US" sz="1600" dirty="0">
                <a:latin typeface="Arial Narrow" pitchFamily="34" charset="0"/>
              </a:rPr>
              <a:t>Which approach do we prefer? The cleaning up method or data re-entry  method? Which is more </a:t>
            </a:r>
          </a:p>
          <a:p>
            <a:pPr algn="just"/>
            <a:r>
              <a:rPr lang="en-US" sz="1600" dirty="0">
                <a:latin typeface="Arial Narrow" pitchFamily="34" charset="0"/>
              </a:rPr>
              <a:t>better for accuracy purposes? </a:t>
            </a:r>
          </a:p>
          <a:p>
            <a:pPr algn="just"/>
            <a:endParaRPr lang="en-US" sz="1600" dirty="0"/>
          </a:p>
          <a:p>
            <a:pPr algn="just"/>
            <a:endParaRPr lang="en-US" sz="1600" b="1" dirty="0"/>
          </a:p>
        </p:txBody>
      </p:sp>
      <p:sp>
        <p:nvSpPr>
          <p:cNvPr id="7" name="Rectangle 6"/>
          <p:cNvSpPr/>
          <p:nvPr/>
        </p:nvSpPr>
        <p:spPr>
          <a:xfrm>
            <a:off x="-34534" y="5973738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219771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034005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0" y="609600"/>
            <a:ext cx="3607078" cy="584775"/>
          </a:xfrm>
        </p:spPr>
        <p:txBody>
          <a:bodyPr wrap="none">
            <a:spAutoFit/>
          </a:bodyPr>
          <a:lstStyle/>
          <a:p>
            <a:r>
              <a:rPr lang="en-US" sz="3200" b="1" dirty="0">
                <a:latin typeface="+mn-lt"/>
                <a:ea typeface="+mn-ea"/>
                <a:cs typeface="+mn-cs"/>
              </a:rPr>
              <a:t>Data Valid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325112"/>
          </a:xfrm>
        </p:spPr>
        <p:txBody>
          <a:bodyPr/>
          <a:lstStyle/>
          <a:p>
            <a:r>
              <a:rPr lang="en-US" sz="2400" dirty="0">
                <a:latin typeface="Arial Narrow" pitchFamily="34" charset="0"/>
              </a:rPr>
              <a:t>Access Levels  for Validation </a:t>
            </a:r>
          </a:p>
          <a:p>
            <a:pPr marL="0" indent="0">
              <a:buNone/>
            </a:pPr>
            <a:endParaRPr lang="en-US" sz="2400" dirty="0">
              <a:latin typeface="Arial Narrow" pitchFamily="34" charset="0"/>
            </a:endParaRPr>
          </a:p>
          <a:p>
            <a:r>
              <a:rPr lang="en-US" sz="2400" dirty="0">
                <a:latin typeface="Arial Narrow" pitchFamily="34" charset="0"/>
              </a:rPr>
              <a:t>Peer review mechanism </a:t>
            </a:r>
          </a:p>
          <a:p>
            <a:pPr marL="109728" indent="0">
              <a:buNone/>
            </a:pPr>
            <a:endParaRPr lang="en-US" dirty="0"/>
          </a:p>
          <a:p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5257800"/>
            <a:ext cx="914400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6194371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15350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7621" y="685800"/>
            <a:ext cx="4355680" cy="584775"/>
          </a:xfrm>
        </p:spPr>
        <p:txBody>
          <a:bodyPr vert="horz" wrap="none" anchor="ctr">
            <a:spAutoFit/>
          </a:bodyPr>
          <a:lstStyle/>
          <a:p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Restructuring the Metric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325112"/>
          </a:xfrm>
        </p:spPr>
        <p:txBody>
          <a:bodyPr>
            <a:normAutofit/>
          </a:bodyPr>
          <a:lstStyle/>
          <a:p>
            <a:r>
              <a:rPr lang="en-US" dirty="0">
                <a:latin typeface="Arial Narrow" pitchFamily="34" charset="0"/>
              </a:rPr>
              <a:t>Choosing the Metrics </a:t>
            </a:r>
          </a:p>
          <a:p>
            <a:pPr>
              <a:buFont typeface="Wingdings" pitchFamily="2" charset="2"/>
              <a:buChar char="ü"/>
            </a:pPr>
            <a:r>
              <a:rPr lang="en-US" sz="1600" dirty="0">
                <a:latin typeface="Arial Narrow" pitchFamily="34" charset="0"/>
              </a:rPr>
              <a:t>Personnel Costs  </a:t>
            </a:r>
          </a:p>
          <a:p>
            <a:pPr>
              <a:buFont typeface="Wingdings" pitchFamily="2" charset="2"/>
              <a:buChar char="ü"/>
            </a:pPr>
            <a:r>
              <a:rPr lang="en-US" sz="1600" dirty="0">
                <a:latin typeface="Arial Narrow" pitchFamily="34" charset="0"/>
              </a:rPr>
              <a:t>Capital Expenditure </a:t>
            </a:r>
          </a:p>
          <a:p>
            <a:pPr>
              <a:buFont typeface="Wingdings" pitchFamily="2" charset="2"/>
              <a:buChar char="ü"/>
            </a:pPr>
            <a:r>
              <a:rPr lang="en-US" sz="1600" dirty="0">
                <a:latin typeface="Arial Narrow" pitchFamily="34" charset="0"/>
              </a:rPr>
              <a:t>Revenue </a:t>
            </a:r>
          </a:p>
          <a:p>
            <a:pPr>
              <a:buFont typeface="Wingdings" pitchFamily="2" charset="2"/>
              <a:buChar char="ü"/>
            </a:pPr>
            <a:r>
              <a:rPr lang="en-US" sz="1600" dirty="0">
                <a:latin typeface="Arial Narrow" pitchFamily="34" charset="0"/>
              </a:rPr>
              <a:t>Recurrent Revenue </a:t>
            </a:r>
          </a:p>
          <a:p>
            <a:r>
              <a:rPr lang="en-US" dirty="0">
                <a:latin typeface="Arial Narrow" pitchFamily="34" charset="0"/>
              </a:rPr>
              <a:t>Sorting </a:t>
            </a:r>
          </a:p>
          <a:p>
            <a:pPr>
              <a:buFontTx/>
              <a:buChar char="-"/>
            </a:pPr>
            <a:r>
              <a:rPr lang="en-US" sz="1800" dirty="0"/>
              <a:t> 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4876800"/>
            <a:ext cx="9144000" cy="0"/>
          </a:xfrm>
          <a:prstGeom prst="line">
            <a:avLst/>
          </a:prstGeom>
          <a:ln w="3175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-34534" y="5973738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6212514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65615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838200"/>
            <a:ext cx="8839200" cy="1066800"/>
          </a:xfrm>
        </p:spPr>
        <p:txBody>
          <a:bodyPr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Data Publishing &amp; Effective Communic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2228088"/>
            <a:ext cx="8229600" cy="4325112"/>
          </a:xfrm>
        </p:spPr>
        <p:txBody>
          <a:bodyPr/>
          <a:lstStyle/>
          <a:p>
            <a:pPr lvl="0"/>
            <a:r>
              <a:rPr lang="en-US" sz="2000" dirty="0">
                <a:latin typeface="Arial Narrow" pitchFamily="34" charset="0"/>
              </a:rPr>
              <a:t>Effective Use Graphs &amp; Charts </a:t>
            </a:r>
          </a:p>
          <a:p>
            <a:pPr lvl="0"/>
            <a:r>
              <a:rPr lang="en-US" sz="2000" dirty="0">
                <a:latin typeface="Arial Narrow" pitchFamily="34" charset="0"/>
              </a:rPr>
              <a:t>Object linked representations </a:t>
            </a:r>
          </a:p>
          <a:p>
            <a:pPr lvl="0"/>
            <a:r>
              <a:rPr lang="en-US" sz="2000" dirty="0">
                <a:latin typeface="Arial Narrow" pitchFamily="34" charset="0"/>
              </a:rPr>
              <a:t>Infographics </a:t>
            </a:r>
          </a:p>
          <a:p>
            <a:pPr lvl="0"/>
            <a:r>
              <a:rPr lang="en-US" sz="2000" dirty="0">
                <a:latin typeface="Arial Narrow" pitchFamily="34" charset="0"/>
              </a:rPr>
              <a:t>Interactive Application </a:t>
            </a:r>
          </a:p>
          <a:p>
            <a:pPr lvl="0"/>
            <a:r>
              <a:rPr lang="en-US" sz="2000" dirty="0">
                <a:latin typeface="Arial Narrow" pitchFamily="34" charset="0"/>
              </a:rPr>
              <a:t>Open Formats &amp; APIs</a:t>
            </a:r>
          </a:p>
          <a:p>
            <a:pPr lvl="0"/>
            <a:r>
              <a:rPr lang="en-US" sz="2000" dirty="0">
                <a:latin typeface="Arial Narrow" pitchFamily="34" charset="0"/>
              </a:rPr>
              <a:t>Social Media Usage 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-34534" y="5257800"/>
            <a:ext cx="914400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-34534" y="5973738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6201628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23105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2269153"/>
            <a:ext cx="8229600" cy="489364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z="2800" dirty="0">
                <a:latin typeface="Arial Narrow" pitchFamily="34" charset="0"/>
              </a:rPr>
              <a:t>Rules of Visualisation </a:t>
            </a:r>
          </a:p>
          <a:p>
            <a:pPr lvl="0"/>
            <a:r>
              <a:rPr lang="en-US" sz="2800" dirty="0">
                <a:latin typeface="Arial Narrow" pitchFamily="34" charset="0"/>
              </a:rPr>
              <a:t>Understanding the Output and Process</a:t>
            </a:r>
          </a:p>
          <a:p>
            <a:pPr lvl="0"/>
            <a:r>
              <a:rPr lang="en-US" sz="2800" dirty="0">
                <a:latin typeface="Arial Narrow" pitchFamily="34" charset="0"/>
              </a:rPr>
              <a:t>The Art of Questioning </a:t>
            </a:r>
          </a:p>
          <a:p>
            <a:pPr lvl="0"/>
            <a:r>
              <a:rPr lang="en-US" sz="2800" dirty="0">
                <a:latin typeface="Arial Narrow" pitchFamily="34" charset="0"/>
              </a:rPr>
              <a:t>Simple online visualisation types </a:t>
            </a:r>
          </a:p>
          <a:p>
            <a:pPr lvl="0"/>
            <a:r>
              <a:rPr lang="en-US" sz="2800" dirty="0">
                <a:latin typeface="Arial Narrow" pitchFamily="34" charset="0"/>
              </a:rPr>
              <a:t>Introduction to Charts, Graphs &amp; Number Use </a:t>
            </a: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r>
              <a:rPr lang="en-US" sz="2800" dirty="0">
                <a:latin typeface="Arial Narrow" pitchFamily="34" charset="0"/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52400" y="838200"/>
            <a:ext cx="8839200" cy="1066800"/>
          </a:xfrm>
        </p:spPr>
        <p:txBody>
          <a:bodyPr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3.0 Data Publishing &amp; Effective Communication </a:t>
            </a:r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523028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4454" y="415636"/>
            <a:ext cx="7125540" cy="769441"/>
          </a:xfr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1" i="1" dirty="0">
                <a:solidFill>
                  <a:schemeClr val="tx2"/>
                </a:solidFill>
                <a:latin typeface="Arial Narrow" pitchFamily="34" charset="0"/>
                <a:ea typeface="+mn-ea"/>
                <a:cs typeface="+mn-cs"/>
              </a:rPr>
              <a:t>Conversation &amp; Attention Spa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GB" i="1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GB" i="1" dirty="0">
                <a:latin typeface="Arial Narrow" pitchFamily="34" charset="0"/>
              </a:rPr>
              <a:t>'The true length of a work is its ability to generate an infinite variety of interpretation‘ Ben </a:t>
            </a:r>
            <a:r>
              <a:rPr lang="en-GB" i="1" dirty="0" err="1">
                <a:latin typeface="Arial Narrow" pitchFamily="34" charset="0"/>
              </a:rPr>
              <a:t>Okri</a:t>
            </a:r>
            <a:r>
              <a:rPr lang="en-GB" i="1" dirty="0">
                <a:latin typeface="Arial Narrow" pitchFamily="34" charset="0"/>
              </a:rPr>
              <a:t> </a:t>
            </a:r>
          </a:p>
          <a:p>
            <a:pPr marL="0" indent="0">
              <a:buNone/>
            </a:pPr>
            <a:endParaRPr lang="en-GB" i="1" dirty="0">
              <a:latin typeface="Arial Narrow" pitchFamily="34" charset="0"/>
            </a:endParaRPr>
          </a:p>
          <a:p>
            <a:pPr marL="0" indent="0">
              <a:buNone/>
            </a:pPr>
            <a:endParaRPr lang="en-GB" i="1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GB" i="1" dirty="0">
                <a:latin typeface="Arial Narrow" pitchFamily="34" charset="0"/>
              </a:rPr>
              <a:t>The true </a:t>
            </a:r>
            <a:r>
              <a:rPr lang="en-GB" b="1" i="1" dirty="0">
                <a:latin typeface="Arial Narrow" pitchFamily="34" charset="0"/>
              </a:rPr>
              <a:t>beauty of a visualisation  </a:t>
            </a:r>
            <a:r>
              <a:rPr lang="en-GB" i="1" dirty="0">
                <a:latin typeface="Arial Narrow" pitchFamily="34" charset="0"/>
              </a:rPr>
              <a:t>is in the </a:t>
            </a:r>
            <a:r>
              <a:rPr lang="en-GB" b="1" i="1" dirty="0">
                <a:latin typeface="Arial Narrow" pitchFamily="34" charset="0"/>
              </a:rPr>
              <a:t>depth of discussions </a:t>
            </a:r>
            <a:r>
              <a:rPr lang="en-GB" i="1" dirty="0">
                <a:latin typeface="Arial Narrow" pitchFamily="34" charset="0"/>
              </a:rPr>
              <a:t>and </a:t>
            </a:r>
            <a:r>
              <a:rPr lang="en-GB" b="1" i="1" dirty="0">
                <a:latin typeface="Arial Narrow" pitchFamily="34" charset="0"/>
              </a:rPr>
              <a:t>varied perspective </a:t>
            </a:r>
            <a:r>
              <a:rPr lang="en-GB" i="1" dirty="0">
                <a:latin typeface="Arial Narrow" pitchFamily="34" charset="0"/>
              </a:rPr>
              <a:t>to the </a:t>
            </a:r>
            <a:r>
              <a:rPr lang="en-GB" b="1" i="1" dirty="0">
                <a:latin typeface="Arial Narrow" pitchFamily="34" charset="0"/>
              </a:rPr>
              <a:t>data.</a:t>
            </a:r>
            <a:endParaRPr lang="en-US" b="1" i="1" dirty="0">
              <a:latin typeface="Arial Narrow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6200" y="5715000"/>
            <a:ext cx="9144000" cy="762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384317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/>
        </p:nvSpPr>
        <p:spPr bwMode="auto">
          <a:xfrm>
            <a:off x="1295538" y="1379537"/>
            <a:ext cx="1523862" cy="709248"/>
          </a:xfrm>
          <a:custGeom>
            <a:avLst/>
            <a:gdLst>
              <a:gd name="T0" fmla="*/ 709 w 756"/>
              <a:gd name="T1" fmla="*/ 0 h 571"/>
              <a:gd name="T2" fmla="*/ 723 w 756"/>
              <a:gd name="T3" fmla="*/ 5 h 571"/>
              <a:gd name="T4" fmla="*/ 747 w 756"/>
              <a:gd name="T5" fmla="*/ 24 h 571"/>
              <a:gd name="T6" fmla="*/ 755 w 756"/>
              <a:gd name="T7" fmla="*/ 42 h 571"/>
              <a:gd name="T8" fmla="*/ 756 w 756"/>
              <a:gd name="T9" fmla="*/ 519 h 571"/>
              <a:gd name="T10" fmla="*/ 754 w 756"/>
              <a:gd name="T11" fmla="*/ 534 h 571"/>
              <a:gd name="T12" fmla="*/ 741 w 756"/>
              <a:gd name="T13" fmla="*/ 556 h 571"/>
              <a:gd name="T14" fmla="*/ 719 w 756"/>
              <a:gd name="T15" fmla="*/ 569 h 571"/>
              <a:gd name="T16" fmla="*/ 703 w 756"/>
              <a:gd name="T17" fmla="*/ 571 h 571"/>
              <a:gd name="T18" fmla="*/ 42 w 756"/>
              <a:gd name="T19" fmla="*/ 570 h 571"/>
              <a:gd name="T20" fmla="*/ 23 w 756"/>
              <a:gd name="T21" fmla="*/ 563 h 571"/>
              <a:gd name="T22" fmla="*/ 4 w 756"/>
              <a:gd name="T23" fmla="*/ 539 h 571"/>
              <a:gd name="T24" fmla="*/ 0 w 756"/>
              <a:gd name="T25" fmla="*/ 524 h 571"/>
              <a:gd name="T26" fmla="*/ 0 w 756"/>
              <a:gd name="T27" fmla="*/ 47 h 571"/>
              <a:gd name="T28" fmla="*/ 4 w 756"/>
              <a:gd name="T29" fmla="*/ 33 h 571"/>
              <a:gd name="T30" fmla="*/ 23 w 756"/>
              <a:gd name="T31" fmla="*/ 10 h 571"/>
              <a:gd name="T32" fmla="*/ 42 w 756"/>
              <a:gd name="T33" fmla="*/ 2 h 571"/>
              <a:gd name="T34" fmla="*/ 80 w 756"/>
              <a:gd name="T35" fmla="*/ 303 h 571"/>
              <a:gd name="T36" fmla="*/ 80 w 756"/>
              <a:gd name="T37" fmla="*/ 332 h 571"/>
              <a:gd name="T38" fmla="*/ 561 w 756"/>
              <a:gd name="T39" fmla="*/ 212 h 571"/>
              <a:gd name="T40" fmla="*/ 602 w 756"/>
              <a:gd name="T41" fmla="*/ 223 h 571"/>
              <a:gd name="T42" fmla="*/ 637 w 756"/>
              <a:gd name="T43" fmla="*/ 244 h 571"/>
              <a:gd name="T44" fmla="*/ 664 w 756"/>
              <a:gd name="T45" fmla="*/ 274 h 571"/>
              <a:gd name="T46" fmla="*/ 683 w 756"/>
              <a:gd name="T47" fmla="*/ 312 h 571"/>
              <a:gd name="T48" fmla="*/ 689 w 756"/>
              <a:gd name="T49" fmla="*/ 354 h 571"/>
              <a:gd name="T50" fmla="*/ 683 w 756"/>
              <a:gd name="T51" fmla="*/ 397 h 571"/>
              <a:gd name="T52" fmla="*/ 664 w 756"/>
              <a:gd name="T53" fmla="*/ 434 h 571"/>
              <a:gd name="T54" fmla="*/ 637 w 756"/>
              <a:gd name="T55" fmla="*/ 464 h 571"/>
              <a:gd name="T56" fmla="*/ 602 w 756"/>
              <a:gd name="T57" fmla="*/ 485 h 571"/>
              <a:gd name="T58" fmla="*/ 561 w 756"/>
              <a:gd name="T59" fmla="*/ 496 h 571"/>
              <a:gd name="T60" fmla="*/ 517 w 756"/>
              <a:gd name="T61" fmla="*/ 494 h 571"/>
              <a:gd name="T62" fmla="*/ 479 w 756"/>
              <a:gd name="T63" fmla="*/ 479 h 571"/>
              <a:gd name="T64" fmla="*/ 445 w 756"/>
              <a:gd name="T65" fmla="*/ 455 h 571"/>
              <a:gd name="T66" fmla="*/ 421 w 756"/>
              <a:gd name="T67" fmla="*/ 422 h 571"/>
              <a:gd name="T68" fmla="*/ 407 w 756"/>
              <a:gd name="T69" fmla="*/ 383 h 571"/>
              <a:gd name="T70" fmla="*/ 405 w 756"/>
              <a:gd name="T71" fmla="*/ 340 h 571"/>
              <a:gd name="T72" fmla="*/ 415 w 756"/>
              <a:gd name="T73" fmla="*/ 298 h 571"/>
              <a:gd name="T74" fmla="*/ 436 w 756"/>
              <a:gd name="T75" fmla="*/ 264 h 571"/>
              <a:gd name="T76" fmla="*/ 467 w 756"/>
              <a:gd name="T77" fmla="*/ 235 h 571"/>
              <a:gd name="T78" fmla="*/ 504 w 756"/>
              <a:gd name="T79" fmla="*/ 218 h 571"/>
              <a:gd name="T80" fmla="*/ 547 w 756"/>
              <a:gd name="T81" fmla="*/ 212 h 571"/>
              <a:gd name="T82" fmla="*/ 354 w 756"/>
              <a:gd name="T83" fmla="*/ 260 h 571"/>
              <a:gd name="T84" fmla="*/ 80 w 756"/>
              <a:gd name="T85" fmla="*/ 449 h 571"/>
              <a:gd name="T86" fmla="*/ 80 w 756"/>
              <a:gd name="T87" fmla="*/ 478 h 571"/>
              <a:gd name="T88" fmla="*/ 354 w 756"/>
              <a:gd name="T89" fmla="*/ 376 h 571"/>
              <a:gd name="T90" fmla="*/ 80 w 756"/>
              <a:gd name="T91" fmla="*/ 376 h 571"/>
              <a:gd name="T92" fmla="*/ 167 w 756"/>
              <a:gd name="T93" fmla="*/ 128 h 571"/>
              <a:gd name="T94" fmla="*/ 80 w 756"/>
              <a:gd name="T95" fmla="*/ 69 h 571"/>
              <a:gd name="T96" fmla="*/ 80 w 756"/>
              <a:gd name="T97" fmla="*/ 139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56" h="571">
                <a:moveTo>
                  <a:pt x="53" y="0"/>
                </a:moveTo>
                <a:lnTo>
                  <a:pt x="703" y="0"/>
                </a:lnTo>
                <a:lnTo>
                  <a:pt x="709" y="0"/>
                </a:lnTo>
                <a:lnTo>
                  <a:pt x="714" y="2"/>
                </a:lnTo>
                <a:lnTo>
                  <a:pt x="719" y="3"/>
                </a:lnTo>
                <a:lnTo>
                  <a:pt x="723" y="5"/>
                </a:lnTo>
                <a:lnTo>
                  <a:pt x="732" y="10"/>
                </a:lnTo>
                <a:lnTo>
                  <a:pt x="741" y="16"/>
                </a:lnTo>
                <a:lnTo>
                  <a:pt x="747" y="24"/>
                </a:lnTo>
                <a:lnTo>
                  <a:pt x="752" y="33"/>
                </a:lnTo>
                <a:lnTo>
                  <a:pt x="754" y="37"/>
                </a:lnTo>
                <a:lnTo>
                  <a:pt x="755" y="42"/>
                </a:lnTo>
                <a:lnTo>
                  <a:pt x="756" y="47"/>
                </a:lnTo>
                <a:lnTo>
                  <a:pt x="756" y="53"/>
                </a:lnTo>
                <a:lnTo>
                  <a:pt x="756" y="519"/>
                </a:lnTo>
                <a:lnTo>
                  <a:pt x="756" y="524"/>
                </a:lnTo>
                <a:lnTo>
                  <a:pt x="755" y="529"/>
                </a:lnTo>
                <a:lnTo>
                  <a:pt x="754" y="534"/>
                </a:lnTo>
                <a:lnTo>
                  <a:pt x="752" y="539"/>
                </a:lnTo>
                <a:lnTo>
                  <a:pt x="747" y="548"/>
                </a:lnTo>
                <a:lnTo>
                  <a:pt x="741" y="556"/>
                </a:lnTo>
                <a:lnTo>
                  <a:pt x="732" y="563"/>
                </a:lnTo>
                <a:lnTo>
                  <a:pt x="723" y="567"/>
                </a:lnTo>
                <a:lnTo>
                  <a:pt x="719" y="569"/>
                </a:lnTo>
                <a:lnTo>
                  <a:pt x="714" y="570"/>
                </a:lnTo>
                <a:lnTo>
                  <a:pt x="709" y="571"/>
                </a:lnTo>
                <a:lnTo>
                  <a:pt x="703" y="571"/>
                </a:lnTo>
                <a:lnTo>
                  <a:pt x="53" y="571"/>
                </a:lnTo>
                <a:lnTo>
                  <a:pt x="47" y="571"/>
                </a:lnTo>
                <a:lnTo>
                  <a:pt x="42" y="570"/>
                </a:lnTo>
                <a:lnTo>
                  <a:pt x="37" y="569"/>
                </a:lnTo>
                <a:lnTo>
                  <a:pt x="32" y="567"/>
                </a:lnTo>
                <a:lnTo>
                  <a:pt x="23" y="563"/>
                </a:lnTo>
                <a:lnTo>
                  <a:pt x="15" y="556"/>
                </a:lnTo>
                <a:lnTo>
                  <a:pt x="9" y="548"/>
                </a:lnTo>
                <a:lnTo>
                  <a:pt x="4" y="539"/>
                </a:lnTo>
                <a:lnTo>
                  <a:pt x="2" y="534"/>
                </a:lnTo>
                <a:lnTo>
                  <a:pt x="1" y="529"/>
                </a:lnTo>
                <a:lnTo>
                  <a:pt x="0" y="524"/>
                </a:lnTo>
                <a:lnTo>
                  <a:pt x="0" y="519"/>
                </a:lnTo>
                <a:lnTo>
                  <a:pt x="0" y="53"/>
                </a:lnTo>
                <a:lnTo>
                  <a:pt x="0" y="47"/>
                </a:lnTo>
                <a:lnTo>
                  <a:pt x="1" y="42"/>
                </a:lnTo>
                <a:lnTo>
                  <a:pt x="2" y="37"/>
                </a:lnTo>
                <a:lnTo>
                  <a:pt x="4" y="33"/>
                </a:lnTo>
                <a:lnTo>
                  <a:pt x="9" y="24"/>
                </a:lnTo>
                <a:lnTo>
                  <a:pt x="15" y="16"/>
                </a:lnTo>
                <a:lnTo>
                  <a:pt x="23" y="10"/>
                </a:lnTo>
                <a:lnTo>
                  <a:pt x="32" y="5"/>
                </a:lnTo>
                <a:lnTo>
                  <a:pt x="37" y="3"/>
                </a:lnTo>
                <a:lnTo>
                  <a:pt x="42" y="2"/>
                </a:lnTo>
                <a:lnTo>
                  <a:pt x="47" y="0"/>
                </a:lnTo>
                <a:lnTo>
                  <a:pt x="53" y="0"/>
                </a:lnTo>
                <a:close/>
                <a:moveTo>
                  <a:pt x="80" y="303"/>
                </a:moveTo>
                <a:lnTo>
                  <a:pt x="354" y="303"/>
                </a:lnTo>
                <a:lnTo>
                  <a:pt x="354" y="332"/>
                </a:lnTo>
                <a:lnTo>
                  <a:pt x="80" y="332"/>
                </a:lnTo>
                <a:lnTo>
                  <a:pt x="80" y="303"/>
                </a:lnTo>
                <a:close/>
                <a:moveTo>
                  <a:pt x="547" y="212"/>
                </a:moveTo>
                <a:lnTo>
                  <a:pt x="561" y="212"/>
                </a:lnTo>
                <a:lnTo>
                  <a:pt x="575" y="214"/>
                </a:lnTo>
                <a:lnTo>
                  <a:pt x="588" y="218"/>
                </a:lnTo>
                <a:lnTo>
                  <a:pt x="602" y="223"/>
                </a:lnTo>
                <a:lnTo>
                  <a:pt x="614" y="228"/>
                </a:lnTo>
                <a:lnTo>
                  <a:pt x="626" y="235"/>
                </a:lnTo>
                <a:lnTo>
                  <a:pt x="637" y="244"/>
                </a:lnTo>
                <a:lnTo>
                  <a:pt x="647" y="254"/>
                </a:lnTo>
                <a:lnTo>
                  <a:pt x="656" y="264"/>
                </a:lnTo>
                <a:lnTo>
                  <a:pt x="664" y="274"/>
                </a:lnTo>
                <a:lnTo>
                  <a:pt x="672" y="286"/>
                </a:lnTo>
                <a:lnTo>
                  <a:pt x="678" y="298"/>
                </a:lnTo>
                <a:lnTo>
                  <a:pt x="683" y="312"/>
                </a:lnTo>
                <a:lnTo>
                  <a:pt x="686" y="326"/>
                </a:lnTo>
                <a:lnTo>
                  <a:pt x="688" y="340"/>
                </a:lnTo>
                <a:lnTo>
                  <a:pt x="689" y="354"/>
                </a:lnTo>
                <a:lnTo>
                  <a:pt x="688" y="368"/>
                </a:lnTo>
                <a:lnTo>
                  <a:pt x="686" y="383"/>
                </a:lnTo>
                <a:lnTo>
                  <a:pt x="683" y="397"/>
                </a:lnTo>
                <a:lnTo>
                  <a:pt x="678" y="410"/>
                </a:lnTo>
                <a:lnTo>
                  <a:pt x="672" y="422"/>
                </a:lnTo>
                <a:lnTo>
                  <a:pt x="664" y="434"/>
                </a:lnTo>
                <a:lnTo>
                  <a:pt x="656" y="445"/>
                </a:lnTo>
                <a:lnTo>
                  <a:pt x="647" y="455"/>
                </a:lnTo>
                <a:lnTo>
                  <a:pt x="637" y="464"/>
                </a:lnTo>
                <a:lnTo>
                  <a:pt x="626" y="472"/>
                </a:lnTo>
                <a:lnTo>
                  <a:pt x="614" y="479"/>
                </a:lnTo>
                <a:lnTo>
                  <a:pt x="602" y="485"/>
                </a:lnTo>
                <a:lnTo>
                  <a:pt x="588" y="490"/>
                </a:lnTo>
                <a:lnTo>
                  <a:pt x="575" y="494"/>
                </a:lnTo>
                <a:lnTo>
                  <a:pt x="561" y="496"/>
                </a:lnTo>
                <a:lnTo>
                  <a:pt x="547" y="497"/>
                </a:lnTo>
                <a:lnTo>
                  <a:pt x="532" y="496"/>
                </a:lnTo>
                <a:lnTo>
                  <a:pt x="517" y="494"/>
                </a:lnTo>
                <a:lnTo>
                  <a:pt x="504" y="490"/>
                </a:lnTo>
                <a:lnTo>
                  <a:pt x="491" y="485"/>
                </a:lnTo>
                <a:lnTo>
                  <a:pt x="479" y="479"/>
                </a:lnTo>
                <a:lnTo>
                  <a:pt x="467" y="472"/>
                </a:lnTo>
                <a:lnTo>
                  <a:pt x="456" y="464"/>
                </a:lnTo>
                <a:lnTo>
                  <a:pt x="445" y="455"/>
                </a:lnTo>
                <a:lnTo>
                  <a:pt x="436" y="445"/>
                </a:lnTo>
                <a:lnTo>
                  <a:pt x="428" y="434"/>
                </a:lnTo>
                <a:lnTo>
                  <a:pt x="421" y="422"/>
                </a:lnTo>
                <a:lnTo>
                  <a:pt x="415" y="410"/>
                </a:lnTo>
                <a:lnTo>
                  <a:pt x="411" y="397"/>
                </a:lnTo>
                <a:lnTo>
                  <a:pt x="407" y="383"/>
                </a:lnTo>
                <a:lnTo>
                  <a:pt x="405" y="368"/>
                </a:lnTo>
                <a:lnTo>
                  <a:pt x="404" y="354"/>
                </a:lnTo>
                <a:lnTo>
                  <a:pt x="405" y="340"/>
                </a:lnTo>
                <a:lnTo>
                  <a:pt x="407" y="326"/>
                </a:lnTo>
                <a:lnTo>
                  <a:pt x="411" y="312"/>
                </a:lnTo>
                <a:lnTo>
                  <a:pt x="415" y="298"/>
                </a:lnTo>
                <a:lnTo>
                  <a:pt x="421" y="286"/>
                </a:lnTo>
                <a:lnTo>
                  <a:pt x="428" y="274"/>
                </a:lnTo>
                <a:lnTo>
                  <a:pt x="436" y="264"/>
                </a:lnTo>
                <a:lnTo>
                  <a:pt x="445" y="254"/>
                </a:lnTo>
                <a:lnTo>
                  <a:pt x="456" y="244"/>
                </a:lnTo>
                <a:lnTo>
                  <a:pt x="467" y="235"/>
                </a:lnTo>
                <a:lnTo>
                  <a:pt x="479" y="228"/>
                </a:lnTo>
                <a:lnTo>
                  <a:pt x="491" y="223"/>
                </a:lnTo>
                <a:lnTo>
                  <a:pt x="504" y="218"/>
                </a:lnTo>
                <a:lnTo>
                  <a:pt x="517" y="214"/>
                </a:lnTo>
                <a:lnTo>
                  <a:pt x="532" y="212"/>
                </a:lnTo>
                <a:lnTo>
                  <a:pt x="547" y="212"/>
                </a:lnTo>
                <a:close/>
                <a:moveTo>
                  <a:pt x="80" y="230"/>
                </a:moveTo>
                <a:lnTo>
                  <a:pt x="354" y="230"/>
                </a:lnTo>
                <a:lnTo>
                  <a:pt x="354" y="260"/>
                </a:lnTo>
                <a:lnTo>
                  <a:pt x="80" y="260"/>
                </a:lnTo>
                <a:lnTo>
                  <a:pt x="80" y="230"/>
                </a:lnTo>
                <a:close/>
                <a:moveTo>
                  <a:pt x="80" y="449"/>
                </a:moveTo>
                <a:lnTo>
                  <a:pt x="354" y="449"/>
                </a:lnTo>
                <a:lnTo>
                  <a:pt x="354" y="478"/>
                </a:lnTo>
                <a:lnTo>
                  <a:pt x="80" y="478"/>
                </a:lnTo>
                <a:lnTo>
                  <a:pt x="80" y="449"/>
                </a:lnTo>
                <a:close/>
                <a:moveTo>
                  <a:pt x="80" y="376"/>
                </a:moveTo>
                <a:lnTo>
                  <a:pt x="354" y="376"/>
                </a:lnTo>
                <a:lnTo>
                  <a:pt x="354" y="405"/>
                </a:lnTo>
                <a:lnTo>
                  <a:pt x="80" y="405"/>
                </a:lnTo>
                <a:lnTo>
                  <a:pt x="80" y="376"/>
                </a:lnTo>
                <a:close/>
                <a:moveTo>
                  <a:pt x="154" y="80"/>
                </a:moveTo>
                <a:lnTo>
                  <a:pt x="167" y="80"/>
                </a:lnTo>
                <a:lnTo>
                  <a:pt x="167" y="128"/>
                </a:lnTo>
                <a:lnTo>
                  <a:pt x="154" y="128"/>
                </a:lnTo>
                <a:lnTo>
                  <a:pt x="154" y="80"/>
                </a:lnTo>
                <a:close/>
                <a:moveTo>
                  <a:pt x="80" y="69"/>
                </a:moveTo>
                <a:lnTo>
                  <a:pt x="685" y="69"/>
                </a:lnTo>
                <a:lnTo>
                  <a:pt x="685" y="139"/>
                </a:lnTo>
                <a:lnTo>
                  <a:pt x="80" y="139"/>
                </a:lnTo>
                <a:lnTo>
                  <a:pt x="80" y="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 noEditPoints="1"/>
          </p:cNvSpPr>
          <p:nvPr/>
        </p:nvSpPr>
        <p:spPr bwMode="auto">
          <a:xfrm>
            <a:off x="3552470" y="1379537"/>
            <a:ext cx="1673111" cy="707700"/>
          </a:xfrm>
          <a:custGeom>
            <a:avLst/>
            <a:gdLst>
              <a:gd name="T0" fmla="*/ 771 w 771"/>
              <a:gd name="T1" fmla="*/ 0 h 603"/>
              <a:gd name="T2" fmla="*/ 0 w 771"/>
              <a:gd name="T3" fmla="*/ 552 h 603"/>
              <a:gd name="T4" fmla="*/ 273 w 771"/>
              <a:gd name="T5" fmla="*/ 573 h 603"/>
              <a:gd name="T6" fmla="*/ 498 w 771"/>
              <a:gd name="T7" fmla="*/ 603 h 603"/>
              <a:gd name="T8" fmla="*/ 273 w 771"/>
              <a:gd name="T9" fmla="*/ 573 h 603"/>
              <a:gd name="T10" fmla="*/ 710 w 771"/>
              <a:gd name="T11" fmla="*/ 33 h 603"/>
              <a:gd name="T12" fmla="*/ 717 w 771"/>
              <a:gd name="T13" fmla="*/ 35 h 603"/>
              <a:gd name="T14" fmla="*/ 722 w 771"/>
              <a:gd name="T15" fmla="*/ 38 h 603"/>
              <a:gd name="T16" fmla="*/ 726 w 771"/>
              <a:gd name="T17" fmla="*/ 44 h 603"/>
              <a:gd name="T18" fmla="*/ 727 w 771"/>
              <a:gd name="T19" fmla="*/ 50 h 603"/>
              <a:gd name="T20" fmla="*/ 727 w 771"/>
              <a:gd name="T21" fmla="*/ 437 h 603"/>
              <a:gd name="T22" fmla="*/ 724 w 771"/>
              <a:gd name="T23" fmla="*/ 443 h 603"/>
              <a:gd name="T24" fmla="*/ 720 w 771"/>
              <a:gd name="T25" fmla="*/ 449 h 603"/>
              <a:gd name="T26" fmla="*/ 714 w 771"/>
              <a:gd name="T27" fmla="*/ 451 h 603"/>
              <a:gd name="T28" fmla="*/ 61 w 771"/>
              <a:gd name="T29" fmla="*/ 451 h 603"/>
              <a:gd name="T30" fmla="*/ 54 w 771"/>
              <a:gd name="T31" fmla="*/ 450 h 603"/>
              <a:gd name="T32" fmla="*/ 49 w 771"/>
              <a:gd name="T33" fmla="*/ 447 h 603"/>
              <a:gd name="T34" fmla="*/ 45 w 771"/>
              <a:gd name="T35" fmla="*/ 440 h 603"/>
              <a:gd name="T36" fmla="*/ 44 w 771"/>
              <a:gd name="T37" fmla="*/ 434 h 603"/>
              <a:gd name="T38" fmla="*/ 44 w 771"/>
              <a:gd name="T39" fmla="*/ 47 h 603"/>
              <a:gd name="T40" fmla="*/ 47 w 771"/>
              <a:gd name="T41" fmla="*/ 41 h 603"/>
              <a:gd name="T42" fmla="*/ 51 w 771"/>
              <a:gd name="T43" fmla="*/ 36 h 603"/>
              <a:gd name="T44" fmla="*/ 57 w 771"/>
              <a:gd name="T45" fmla="*/ 34 h 603"/>
              <a:gd name="T46" fmla="*/ 386 w 771"/>
              <a:gd name="T47" fmla="*/ 473 h 603"/>
              <a:gd name="T48" fmla="*/ 395 w 771"/>
              <a:gd name="T49" fmla="*/ 475 h 603"/>
              <a:gd name="T50" fmla="*/ 403 w 771"/>
              <a:gd name="T51" fmla="*/ 480 h 603"/>
              <a:gd name="T52" fmla="*/ 408 w 771"/>
              <a:gd name="T53" fmla="*/ 487 h 603"/>
              <a:gd name="T54" fmla="*/ 409 w 771"/>
              <a:gd name="T55" fmla="*/ 496 h 603"/>
              <a:gd name="T56" fmla="*/ 408 w 771"/>
              <a:gd name="T57" fmla="*/ 505 h 603"/>
              <a:gd name="T58" fmla="*/ 403 w 771"/>
              <a:gd name="T59" fmla="*/ 514 h 603"/>
              <a:gd name="T60" fmla="*/ 395 w 771"/>
              <a:gd name="T61" fmla="*/ 519 h 603"/>
              <a:gd name="T62" fmla="*/ 386 w 771"/>
              <a:gd name="T63" fmla="*/ 520 h 603"/>
              <a:gd name="T64" fmla="*/ 376 w 771"/>
              <a:gd name="T65" fmla="*/ 519 h 603"/>
              <a:gd name="T66" fmla="*/ 369 w 771"/>
              <a:gd name="T67" fmla="*/ 514 h 603"/>
              <a:gd name="T68" fmla="*/ 364 w 771"/>
              <a:gd name="T69" fmla="*/ 505 h 603"/>
              <a:gd name="T70" fmla="*/ 362 w 771"/>
              <a:gd name="T71" fmla="*/ 496 h 603"/>
              <a:gd name="T72" fmla="*/ 364 w 771"/>
              <a:gd name="T73" fmla="*/ 487 h 603"/>
              <a:gd name="T74" fmla="*/ 369 w 771"/>
              <a:gd name="T75" fmla="*/ 480 h 603"/>
              <a:gd name="T76" fmla="*/ 376 w 771"/>
              <a:gd name="T77" fmla="*/ 475 h 603"/>
              <a:gd name="T78" fmla="*/ 386 w 771"/>
              <a:gd name="T79" fmla="*/ 473 h 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71" h="603">
                <a:moveTo>
                  <a:pt x="0" y="0"/>
                </a:moveTo>
                <a:lnTo>
                  <a:pt x="771" y="0"/>
                </a:lnTo>
                <a:lnTo>
                  <a:pt x="771" y="552"/>
                </a:lnTo>
                <a:lnTo>
                  <a:pt x="0" y="552"/>
                </a:lnTo>
                <a:lnTo>
                  <a:pt x="0" y="0"/>
                </a:lnTo>
                <a:close/>
                <a:moveTo>
                  <a:pt x="273" y="573"/>
                </a:moveTo>
                <a:lnTo>
                  <a:pt x="498" y="573"/>
                </a:lnTo>
                <a:lnTo>
                  <a:pt x="498" y="603"/>
                </a:lnTo>
                <a:lnTo>
                  <a:pt x="273" y="603"/>
                </a:lnTo>
                <a:lnTo>
                  <a:pt x="273" y="573"/>
                </a:lnTo>
                <a:close/>
                <a:moveTo>
                  <a:pt x="61" y="33"/>
                </a:moveTo>
                <a:lnTo>
                  <a:pt x="710" y="33"/>
                </a:lnTo>
                <a:lnTo>
                  <a:pt x="714" y="34"/>
                </a:lnTo>
                <a:lnTo>
                  <a:pt x="717" y="35"/>
                </a:lnTo>
                <a:lnTo>
                  <a:pt x="720" y="36"/>
                </a:lnTo>
                <a:lnTo>
                  <a:pt x="722" y="38"/>
                </a:lnTo>
                <a:lnTo>
                  <a:pt x="724" y="41"/>
                </a:lnTo>
                <a:lnTo>
                  <a:pt x="726" y="44"/>
                </a:lnTo>
                <a:lnTo>
                  <a:pt x="727" y="47"/>
                </a:lnTo>
                <a:lnTo>
                  <a:pt x="727" y="50"/>
                </a:lnTo>
                <a:lnTo>
                  <a:pt x="727" y="434"/>
                </a:lnTo>
                <a:lnTo>
                  <a:pt x="727" y="437"/>
                </a:lnTo>
                <a:lnTo>
                  <a:pt x="726" y="440"/>
                </a:lnTo>
                <a:lnTo>
                  <a:pt x="724" y="443"/>
                </a:lnTo>
                <a:lnTo>
                  <a:pt x="722" y="447"/>
                </a:lnTo>
                <a:lnTo>
                  <a:pt x="720" y="449"/>
                </a:lnTo>
                <a:lnTo>
                  <a:pt x="717" y="450"/>
                </a:lnTo>
                <a:lnTo>
                  <a:pt x="714" y="451"/>
                </a:lnTo>
                <a:lnTo>
                  <a:pt x="710" y="451"/>
                </a:lnTo>
                <a:lnTo>
                  <a:pt x="61" y="451"/>
                </a:lnTo>
                <a:lnTo>
                  <a:pt x="57" y="451"/>
                </a:lnTo>
                <a:lnTo>
                  <a:pt x="54" y="450"/>
                </a:lnTo>
                <a:lnTo>
                  <a:pt x="51" y="449"/>
                </a:lnTo>
                <a:lnTo>
                  <a:pt x="49" y="447"/>
                </a:lnTo>
                <a:lnTo>
                  <a:pt x="47" y="443"/>
                </a:lnTo>
                <a:lnTo>
                  <a:pt x="45" y="440"/>
                </a:lnTo>
                <a:lnTo>
                  <a:pt x="44" y="437"/>
                </a:lnTo>
                <a:lnTo>
                  <a:pt x="44" y="434"/>
                </a:lnTo>
                <a:lnTo>
                  <a:pt x="44" y="50"/>
                </a:lnTo>
                <a:lnTo>
                  <a:pt x="44" y="47"/>
                </a:lnTo>
                <a:lnTo>
                  <a:pt x="45" y="44"/>
                </a:lnTo>
                <a:lnTo>
                  <a:pt x="47" y="41"/>
                </a:lnTo>
                <a:lnTo>
                  <a:pt x="49" y="38"/>
                </a:lnTo>
                <a:lnTo>
                  <a:pt x="51" y="36"/>
                </a:lnTo>
                <a:lnTo>
                  <a:pt x="54" y="35"/>
                </a:lnTo>
                <a:lnTo>
                  <a:pt x="57" y="34"/>
                </a:lnTo>
                <a:lnTo>
                  <a:pt x="61" y="33"/>
                </a:lnTo>
                <a:close/>
                <a:moveTo>
                  <a:pt x="386" y="473"/>
                </a:moveTo>
                <a:lnTo>
                  <a:pt x="391" y="473"/>
                </a:lnTo>
                <a:lnTo>
                  <a:pt x="395" y="475"/>
                </a:lnTo>
                <a:lnTo>
                  <a:pt x="399" y="477"/>
                </a:lnTo>
                <a:lnTo>
                  <a:pt x="403" y="480"/>
                </a:lnTo>
                <a:lnTo>
                  <a:pt x="405" y="483"/>
                </a:lnTo>
                <a:lnTo>
                  <a:pt x="408" y="487"/>
                </a:lnTo>
                <a:lnTo>
                  <a:pt x="409" y="491"/>
                </a:lnTo>
                <a:lnTo>
                  <a:pt x="409" y="496"/>
                </a:lnTo>
                <a:lnTo>
                  <a:pt x="409" y="501"/>
                </a:lnTo>
                <a:lnTo>
                  <a:pt x="408" y="505"/>
                </a:lnTo>
                <a:lnTo>
                  <a:pt x="405" y="510"/>
                </a:lnTo>
                <a:lnTo>
                  <a:pt x="403" y="514"/>
                </a:lnTo>
                <a:lnTo>
                  <a:pt x="399" y="516"/>
                </a:lnTo>
                <a:lnTo>
                  <a:pt x="395" y="519"/>
                </a:lnTo>
                <a:lnTo>
                  <a:pt x="391" y="520"/>
                </a:lnTo>
                <a:lnTo>
                  <a:pt x="386" y="520"/>
                </a:lnTo>
                <a:lnTo>
                  <a:pt x="380" y="520"/>
                </a:lnTo>
                <a:lnTo>
                  <a:pt x="376" y="519"/>
                </a:lnTo>
                <a:lnTo>
                  <a:pt x="372" y="516"/>
                </a:lnTo>
                <a:lnTo>
                  <a:pt x="369" y="514"/>
                </a:lnTo>
                <a:lnTo>
                  <a:pt x="366" y="510"/>
                </a:lnTo>
                <a:lnTo>
                  <a:pt x="364" y="505"/>
                </a:lnTo>
                <a:lnTo>
                  <a:pt x="362" y="501"/>
                </a:lnTo>
                <a:lnTo>
                  <a:pt x="362" y="496"/>
                </a:lnTo>
                <a:lnTo>
                  <a:pt x="362" y="491"/>
                </a:lnTo>
                <a:lnTo>
                  <a:pt x="364" y="487"/>
                </a:lnTo>
                <a:lnTo>
                  <a:pt x="366" y="483"/>
                </a:lnTo>
                <a:lnTo>
                  <a:pt x="369" y="480"/>
                </a:lnTo>
                <a:lnTo>
                  <a:pt x="372" y="477"/>
                </a:lnTo>
                <a:lnTo>
                  <a:pt x="376" y="475"/>
                </a:lnTo>
                <a:lnTo>
                  <a:pt x="380" y="473"/>
                </a:lnTo>
                <a:lnTo>
                  <a:pt x="386" y="47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 noEditPoints="1"/>
          </p:cNvSpPr>
          <p:nvPr/>
        </p:nvSpPr>
        <p:spPr bwMode="auto">
          <a:xfrm>
            <a:off x="1164172" y="3175793"/>
            <a:ext cx="2071106" cy="807970"/>
          </a:xfrm>
          <a:custGeom>
            <a:avLst/>
            <a:gdLst>
              <a:gd name="T0" fmla="*/ 540 w 959"/>
              <a:gd name="T1" fmla="*/ 287 h 505"/>
              <a:gd name="T2" fmla="*/ 605 w 959"/>
              <a:gd name="T3" fmla="*/ 316 h 505"/>
              <a:gd name="T4" fmla="*/ 641 w 959"/>
              <a:gd name="T5" fmla="*/ 361 h 505"/>
              <a:gd name="T6" fmla="*/ 602 w 959"/>
              <a:gd name="T7" fmla="*/ 411 h 505"/>
              <a:gd name="T8" fmla="*/ 580 w 959"/>
              <a:gd name="T9" fmla="*/ 472 h 505"/>
              <a:gd name="T10" fmla="*/ 384 w 959"/>
              <a:gd name="T11" fmla="*/ 504 h 505"/>
              <a:gd name="T12" fmla="*/ 371 w 959"/>
              <a:gd name="T13" fmla="*/ 440 h 505"/>
              <a:gd name="T14" fmla="*/ 339 w 959"/>
              <a:gd name="T15" fmla="*/ 384 h 505"/>
              <a:gd name="T16" fmla="*/ 326 w 959"/>
              <a:gd name="T17" fmla="*/ 338 h 505"/>
              <a:gd name="T18" fmla="*/ 385 w 959"/>
              <a:gd name="T19" fmla="*/ 299 h 505"/>
              <a:gd name="T20" fmla="*/ 455 w 959"/>
              <a:gd name="T21" fmla="*/ 281 h 505"/>
              <a:gd name="T22" fmla="*/ 830 w 959"/>
              <a:gd name="T23" fmla="*/ 335 h 505"/>
              <a:gd name="T24" fmla="*/ 915 w 959"/>
              <a:gd name="T25" fmla="*/ 392 h 505"/>
              <a:gd name="T26" fmla="*/ 957 w 959"/>
              <a:gd name="T27" fmla="*/ 487 h 505"/>
              <a:gd name="T28" fmla="*/ 610 w 959"/>
              <a:gd name="T29" fmla="*/ 436 h 505"/>
              <a:gd name="T30" fmla="*/ 676 w 959"/>
              <a:gd name="T31" fmla="*/ 358 h 505"/>
              <a:gd name="T32" fmla="*/ 776 w 959"/>
              <a:gd name="T33" fmla="*/ 327 h 505"/>
              <a:gd name="T34" fmla="*/ 815 w 959"/>
              <a:gd name="T35" fmla="*/ 120 h 505"/>
              <a:gd name="T36" fmla="*/ 847 w 959"/>
              <a:gd name="T37" fmla="*/ 160 h 505"/>
              <a:gd name="T38" fmla="*/ 857 w 959"/>
              <a:gd name="T39" fmla="*/ 216 h 505"/>
              <a:gd name="T40" fmla="*/ 838 w 959"/>
              <a:gd name="T41" fmla="*/ 267 h 505"/>
              <a:gd name="T42" fmla="*/ 801 w 959"/>
              <a:gd name="T43" fmla="*/ 299 h 505"/>
              <a:gd name="T44" fmla="*/ 753 w 959"/>
              <a:gd name="T45" fmla="*/ 299 h 505"/>
              <a:gd name="T46" fmla="*/ 715 w 959"/>
              <a:gd name="T47" fmla="*/ 267 h 505"/>
              <a:gd name="T48" fmla="*/ 696 w 959"/>
              <a:gd name="T49" fmla="*/ 216 h 505"/>
              <a:gd name="T50" fmla="*/ 705 w 959"/>
              <a:gd name="T51" fmla="*/ 160 h 505"/>
              <a:gd name="T52" fmla="*/ 738 w 959"/>
              <a:gd name="T53" fmla="*/ 120 h 505"/>
              <a:gd name="T54" fmla="*/ 183 w 959"/>
              <a:gd name="T55" fmla="*/ 327 h 505"/>
              <a:gd name="T56" fmla="*/ 283 w 959"/>
              <a:gd name="T57" fmla="*/ 358 h 505"/>
              <a:gd name="T58" fmla="*/ 349 w 959"/>
              <a:gd name="T59" fmla="*/ 436 h 505"/>
              <a:gd name="T60" fmla="*/ 2 w 959"/>
              <a:gd name="T61" fmla="*/ 487 h 505"/>
              <a:gd name="T62" fmla="*/ 44 w 959"/>
              <a:gd name="T63" fmla="*/ 392 h 505"/>
              <a:gd name="T64" fmla="*/ 129 w 959"/>
              <a:gd name="T65" fmla="*/ 335 h 505"/>
              <a:gd name="T66" fmla="*/ 199 w 959"/>
              <a:gd name="T67" fmla="*/ 111 h 505"/>
              <a:gd name="T68" fmla="*/ 240 w 959"/>
              <a:gd name="T69" fmla="*/ 137 h 505"/>
              <a:gd name="T70" fmla="*/ 261 w 959"/>
              <a:gd name="T71" fmla="*/ 186 h 505"/>
              <a:gd name="T72" fmla="*/ 257 w 959"/>
              <a:gd name="T73" fmla="*/ 244 h 505"/>
              <a:gd name="T74" fmla="*/ 228 w 959"/>
              <a:gd name="T75" fmla="*/ 287 h 505"/>
              <a:gd name="T76" fmla="*/ 183 w 959"/>
              <a:gd name="T77" fmla="*/ 303 h 505"/>
              <a:gd name="T78" fmla="*/ 137 w 959"/>
              <a:gd name="T79" fmla="*/ 287 h 505"/>
              <a:gd name="T80" fmla="*/ 109 w 959"/>
              <a:gd name="T81" fmla="*/ 244 h 505"/>
              <a:gd name="T82" fmla="*/ 104 w 959"/>
              <a:gd name="T83" fmla="*/ 186 h 505"/>
              <a:gd name="T84" fmla="*/ 126 w 959"/>
              <a:gd name="T85" fmla="*/ 137 h 505"/>
              <a:gd name="T86" fmla="*/ 167 w 959"/>
              <a:gd name="T87" fmla="*/ 111 h 505"/>
              <a:gd name="T88" fmla="*/ 510 w 959"/>
              <a:gd name="T89" fmla="*/ 6 h 505"/>
              <a:gd name="T90" fmla="*/ 558 w 959"/>
              <a:gd name="T91" fmla="*/ 46 h 505"/>
              <a:gd name="T92" fmla="*/ 582 w 959"/>
              <a:gd name="T93" fmla="*/ 112 h 505"/>
              <a:gd name="T94" fmla="*/ 569 w 959"/>
              <a:gd name="T95" fmla="*/ 183 h 505"/>
              <a:gd name="T96" fmla="*/ 529 w 959"/>
              <a:gd name="T97" fmla="*/ 233 h 505"/>
              <a:gd name="T98" fmla="*/ 469 w 959"/>
              <a:gd name="T99" fmla="*/ 247 h 505"/>
              <a:gd name="T100" fmla="*/ 414 w 959"/>
              <a:gd name="T101" fmla="*/ 220 h 505"/>
              <a:gd name="T102" fmla="*/ 382 w 959"/>
              <a:gd name="T103" fmla="*/ 161 h 505"/>
              <a:gd name="T104" fmla="*/ 382 w 959"/>
              <a:gd name="T105" fmla="*/ 87 h 505"/>
              <a:gd name="T106" fmla="*/ 414 w 959"/>
              <a:gd name="T107" fmla="*/ 28 h 505"/>
              <a:gd name="T108" fmla="*/ 469 w 959"/>
              <a:gd name="T109" fmla="*/ 1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59" h="505">
                <a:moveTo>
                  <a:pt x="479" y="279"/>
                </a:moveTo>
                <a:lnTo>
                  <a:pt x="492" y="280"/>
                </a:lnTo>
                <a:lnTo>
                  <a:pt x="505" y="281"/>
                </a:lnTo>
                <a:lnTo>
                  <a:pt x="517" y="282"/>
                </a:lnTo>
                <a:lnTo>
                  <a:pt x="529" y="285"/>
                </a:lnTo>
                <a:lnTo>
                  <a:pt x="540" y="287"/>
                </a:lnTo>
                <a:lnTo>
                  <a:pt x="552" y="291"/>
                </a:lnTo>
                <a:lnTo>
                  <a:pt x="563" y="295"/>
                </a:lnTo>
                <a:lnTo>
                  <a:pt x="575" y="299"/>
                </a:lnTo>
                <a:lnTo>
                  <a:pt x="585" y="304"/>
                </a:lnTo>
                <a:lnTo>
                  <a:pt x="595" y="310"/>
                </a:lnTo>
                <a:lnTo>
                  <a:pt x="605" y="316"/>
                </a:lnTo>
                <a:lnTo>
                  <a:pt x="615" y="322"/>
                </a:lnTo>
                <a:lnTo>
                  <a:pt x="624" y="330"/>
                </a:lnTo>
                <a:lnTo>
                  <a:pt x="633" y="338"/>
                </a:lnTo>
                <a:lnTo>
                  <a:pt x="641" y="346"/>
                </a:lnTo>
                <a:lnTo>
                  <a:pt x="650" y="354"/>
                </a:lnTo>
                <a:lnTo>
                  <a:pt x="641" y="361"/>
                </a:lnTo>
                <a:lnTo>
                  <a:pt x="634" y="368"/>
                </a:lnTo>
                <a:lnTo>
                  <a:pt x="627" y="376"/>
                </a:lnTo>
                <a:lnTo>
                  <a:pt x="620" y="384"/>
                </a:lnTo>
                <a:lnTo>
                  <a:pt x="614" y="392"/>
                </a:lnTo>
                <a:lnTo>
                  <a:pt x="608" y="402"/>
                </a:lnTo>
                <a:lnTo>
                  <a:pt x="602" y="411"/>
                </a:lnTo>
                <a:lnTo>
                  <a:pt x="597" y="420"/>
                </a:lnTo>
                <a:lnTo>
                  <a:pt x="593" y="430"/>
                </a:lnTo>
                <a:lnTo>
                  <a:pt x="589" y="440"/>
                </a:lnTo>
                <a:lnTo>
                  <a:pt x="585" y="450"/>
                </a:lnTo>
                <a:lnTo>
                  <a:pt x="582" y="461"/>
                </a:lnTo>
                <a:lnTo>
                  <a:pt x="580" y="472"/>
                </a:lnTo>
                <a:lnTo>
                  <a:pt x="578" y="482"/>
                </a:lnTo>
                <a:lnTo>
                  <a:pt x="577" y="493"/>
                </a:lnTo>
                <a:lnTo>
                  <a:pt x="576" y="504"/>
                </a:lnTo>
                <a:lnTo>
                  <a:pt x="576" y="505"/>
                </a:lnTo>
                <a:lnTo>
                  <a:pt x="384" y="505"/>
                </a:lnTo>
                <a:lnTo>
                  <a:pt x="384" y="504"/>
                </a:lnTo>
                <a:lnTo>
                  <a:pt x="383" y="493"/>
                </a:lnTo>
                <a:lnTo>
                  <a:pt x="382" y="482"/>
                </a:lnTo>
                <a:lnTo>
                  <a:pt x="380" y="472"/>
                </a:lnTo>
                <a:lnTo>
                  <a:pt x="378" y="461"/>
                </a:lnTo>
                <a:lnTo>
                  <a:pt x="375" y="450"/>
                </a:lnTo>
                <a:lnTo>
                  <a:pt x="371" y="440"/>
                </a:lnTo>
                <a:lnTo>
                  <a:pt x="367" y="430"/>
                </a:lnTo>
                <a:lnTo>
                  <a:pt x="362" y="420"/>
                </a:lnTo>
                <a:lnTo>
                  <a:pt x="357" y="411"/>
                </a:lnTo>
                <a:lnTo>
                  <a:pt x="351" y="402"/>
                </a:lnTo>
                <a:lnTo>
                  <a:pt x="345" y="392"/>
                </a:lnTo>
                <a:lnTo>
                  <a:pt x="339" y="384"/>
                </a:lnTo>
                <a:lnTo>
                  <a:pt x="332" y="376"/>
                </a:lnTo>
                <a:lnTo>
                  <a:pt x="325" y="368"/>
                </a:lnTo>
                <a:lnTo>
                  <a:pt x="318" y="361"/>
                </a:lnTo>
                <a:lnTo>
                  <a:pt x="310" y="354"/>
                </a:lnTo>
                <a:lnTo>
                  <a:pt x="318" y="346"/>
                </a:lnTo>
                <a:lnTo>
                  <a:pt x="326" y="338"/>
                </a:lnTo>
                <a:lnTo>
                  <a:pt x="335" y="330"/>
                </a:lnTo>
                <a:lnTo>
                  <a:pt x="344" y="322"/>
                </a:lnTo>
                <a:lnTo>
                  <a:pt x="354" y="316"/>
                </a:lnTo>
                <a:lnTo>
                  <a:pt x="365" y="310"/>
                </a:lnTo>
                <a:lnTo>
                  <a:pt x="375" y="304"/>
                </a:lnTo>
                <a:lnTo>
                  <a:pt x="385" y="299"/>
                </a:lnTo>
                <a:lnTo>
                  <a:pt x="396" y="295"/>
                </a:lnTo>
                <a:lnTo>
                  <a:pt x="407" y="291"/>
                </a:lnTo>
                <a:lnTo>
                  <a:pt x="419" y="287"/>
                </a:lnTo>
                <a:lnTo>
                  <a:pt x="430" y="285"/>
                </a:lnTo>
                <a:lnTo>
                  <a:pt x="443" y="282"/>
                </a:lnTo>
                <a:lnTo>
                  <a:pt x="455" y="281"/>
                </a:lnTo>
                <a:lnTo>
                  <a:pt x="467" y="280"/>
                </a:lnTo>
                <a:lnTo>
                  <a:pt x="479" y="279"/>
                </a:lnTo>
                <a:close/>
                <a:moveTo>
                  <a:pt x="776" y="327"/>
                </a:moveTo>
                <a:lnTo>
                  <a:pt x="795" y="328"/>
                </a:lnTo>
                <a:lnTo>
                  <a:pt x="813" y="331"/>
                </a:lnTo>
                <a:lnTo>
                  <a:pt x="830" y="335"/>
                </a:lnTo>
                <a:lnTo>
                  <a:pt x="846" y="342"/>
                </a:lnTo>
                <a:lnTo>
                  <a:pt x="862" y="349"/>
                </a:lnTo>
                <a:lnTo>
                  <a:pt x="877" y="358"/>
                </a:lnTo>
                <a:lnTo>
                  <a:pt x="890" y="368"/>
                </a:lnTo>
                <a:lnTo>
                  <a:pt x="903" y="379"/>
                </a:lnTo>
                <a:lnTo>
                  <a:pt x="915" y="392"/>
                </a:lnTo>
                <a:lnTo>
                  <a:pt x="926" y="406"/>
                </a:lnTo>
                <a:lnTo>
                  <a:pt x="935" y="420"/>
                </a:lnTo>
                <a:lnTo>
                  <a:pt x="943" y="436"/>
                </a:lnTo>
                <a:lnTo>
                  <a:pt x="949" y="452"/>
                </a:lnTo>
                <a:lnTo>
                  <a:pt x="954" y="470"/>
                </a:lnTo>
                <a:lnTo>
                  <a:pt x="957" y="487"/>
                </a:lnTo>
                <a:lnTo>
                  <a:pt x="959" y="505"/>
                </a:lnTo>
                <a:lnTo>
                  <a:pt x="595" y="505"/>
                </a:lnTo>
                <a:lnTo>
                  <a:pt x="596" y="487"/>
                </a:lnTo>
                <a:lnTo>
                  <a:pt x="599" y="470"/>
                </a:lnTo>
                <a:lnTo>
                  <a:pt x="604" y="452"/>
                </a:lnTo>
                <a:lnTo>
                  <a:pt x="610" y="436"/>
                </a:lnTo>
                <a:lnTo>
                  <a:pt x="618" y="420"/>
                </a:lnTo>
                <a:lnTo>
                  <a:pt x="627" y="406"/>
                </a:lnTo>
                <a:lnTo>
                  <a:pt x="638" y="392"/>
                </a:lnTo>
                <a:lnTo>
                  <a:pt x="650" y="379"/>
                </a:lnTo>
                <a:lnTo>
                  <a:pt x="663" y="368"/>
                </a:lnTo>
                <a:lnTo>
                  <a:pt x="676" y="358"/>
                </a:lnTo>
                <a:lnTo>
                  <a:pt x="691" y="349"/>
                </a:lnTo>
                <a:lnTo>
                  <a:pt x="706" y="342"/>
                </a:lnTo>
                <a:lnTo>
                  <a:pt x="724" y="335"/>
                </a:lnTo>
                <a:lnTo>
                  <a:pt x="741" y="331"/>
                </a:lnTo>
                <a:lnTo>
                  <a:pt x="758" y="328"/>
                </a:lnTo>
                <a:lnTo>
                  <a:pt x="776" y="327"/>
                </a:lnTo>
                <a:close/>
                <a:moveTo>
                  <a:pt x="776" y="109"/>
                </a:moveTo>
                <a:lnTo>
                  <a:pt x="785" y="109"/>
                </a:lnTo>
                <a:lnTo>
                  <a:pt x="793" y="111"/>
                </a:lnTo>
                <a:lnTo>
                  <a:pt x="801" y="113"/>
                </a:lnTo>
                <a:lnTo>
                  <a:pt x="808" y="116"/>
                </a:lnTo>
                <a:lnTo>
                  <a:pt x="815" y="120"/>
                </a:lnTo>
                <a:lnTo>
                  <a:pt x="821" y="125"/>
                </a:lnTo>
                <a:lnTo>
                  <a:pt x="828" y="131"/>
                </a:lnTo>
                <a:lnTo>
                  <a:pt x="833" y="137"/>
                </a:lnTo>
                <a:lnTo>
                  <a:pt x="838" y="144"/>
                </a:lnTo>
                <a:lnTo>
                  <a:pt x="843" y="151"/>
                </a:lnTo>
                <a:lnTo>
                  <a:pt x="847" y="160"/>
                </a:lnTo>
                <a:lnTo>
                  <a:pt x="850" y="168"/>
                </a:lnTo>
                <a:lnTo>
                  <a:pt x="853" y="177"/>
                </a:lnTo>
                <a:lnTo>
                  <a:pt x="856" y="186"/>
                </a:lnTo>
                <a:lnTo>
                  <a:pt x="857" y="196"/>
                </a:lnTo>
                <a:lnTo>
                  <a:pt x="857" y="205"/>
                </a:lnTo>
                <a:lnTo>
                  <a:pt x="857" y="216"/>
                </a:lnTo>
                <a:lnTo>
                  <a:pt x="856" y="226"/>
                </a:lnTo>
                <a:lnTo>
                  <a:pt x="853" y="235"/>
                </a:lnTo>
                <a:lnTo>
                  <a:pt x="850" y="244"/>
                </a:lnTo>
                <a:lnTo>
                  <a:pt x="847" y="252"/>
                </a:lnTo>
                <a:lnTo>
                  <a:pt x="843" y="260"/>
                </a:lnTo>
                <a:lnTo>
                  <a:pt x="838" y="267"/>
                </a:lnTo>
                <a:lnTo>
                  <a:pt x="833" y="274"/>
                </a:lnTo>
                <a:lnTo>
                  <a:pt x="828" y="281"/>
                </a:lnTo>
                <a:lnTo>
                  <a:pt x="821" y="287"/>
                </a:lnTo>
                <a:lnTo>
                  <a:pt x="815" y="292"/>
                </a:lnTo>
                <a:lnTo>
                  <a:pt x="808" y="296"/>
                </a:lnTo>
                <a:lnTo>
                  <a:pt x="801" y="299"/>
                </a:lnTo>
                <a:lnTo>
                  <a:pt x="793" y="301"/>
                </a:lnTo>
                <a:lnTo>
                  <a:pt x="785" y="303"/>
                </a:lnTo>
                <a:lnTo>
                  <a:pt x="776" y="303"/>
                </a:lnTo>
                <a:lnTo>
                  <a:pt x="768" y="303"/>
                </a:lnTo>
                <a:lnTo>
                  <a:pt x="760" y="301"/>
                </a:lnTo>
                <a:lnTo>
                  <a:pt x="753" y="299"/>
                </a:lnTo>
                <a:lnTo>
                  <a:pt x="745" y="296"/>
                </a:lnTo>
                <a:lnTo>
                  <a:pt x="738" y="292"/>
                </a:lnTo>
                <a:lnTo>
                  <a:pt x="732" y="287"/>
                </a:lnTo>
                <a:lnTo>
                  <a:pt x="726" y="281"/>
                </a:lnTo>
                <a:lnTo>
                  <a:pt x="720" y="274"/>
                </a:lnTo>
                <a:lnTo>
                  <a:pt x="715" y="267"/>
                </a:lnTo>
                <a:lnTo>
                  <a:pt x="709" y="260"/>
                </a:lnTo>
                <a:lnTo>
                  <a:pt x="705" y="252"/>
                </a:lnTo>
                <a:lnTo>
                  <a:pt x="702" y="244"/>
                </a:lnTo>
                <a:lnTo>
                  <a:pt x="699" y="235"/>
                </a:lnTo>
                <a:lnTo>
                  <a:pt x="697" y="226"/>
                </a:lnTo>
                <a:lnTo>
                  <a:pt x="696" y="216"/>
                </a:lnTo>
                <a:lnTo>
                  <a:pt x="696" y="205"/>
                </a:lnTo>
                <a:lnTo>
                  <a:pt x="696" y="196"/>
                </a:lnTo>
                <a:lnTo>
                  <a:pt x="697" y="186"/>
                </a:lnTo>
                <a:lnTo>
                  <a:pt x="699" y="177"/>
                </a:lnTo>
                <a:lnTo>
                  <a:pt x="702" y="168"/>
                </a:lnTo>
                <a:lnTo>
                  <a:pt x="705" y="160"/>
                </a:lnTo>
                <a:lnTo>
                  <a:pt x="709" y="151"/>
                </a:lnTo>
                <a:lnTo>
                  <a:pt x="715" y="144"/>
                </a:lnTo>
                <a:lnTo>
                  <a:pt x="720" y="137"/>
                </a:lnTo>
                <a:lnTo>
                  <a:pt x="726" y="131"/>
                </a:lnTo>
                <a:lnTo>
                  <a:pt x="732" y="125"/>
                </a:lnTo>
                <a:lnTo>
                  <a:pt x="738" y="120"/>
                </a:lnTo>
                <a:lnTo>
                  <a:pt x="745" y="116"/>
                </a:lnTo>
                <a:lnTo>
                  <a:pt x="753" y="113"/>
                </a:lnTo>
                <a:lnTo>
                  <a:pt x="760" y="111"/>
                </a:lnTo>
                <a:lnTo>
                  <a:pt x="768" y="109"/>
                </a:lnTo>
                <a:lnTo>
                  <a:pt x="776" y="109"/>
                </a:lnTo>
                <a:close/>
                <a:moveTo>
                  <a:pt x="183" y="327"/>
                </a:moveTo>
                <a:lnTo>
                  <a:pt x="201" y="328"/>
                </a:lnTo>
                <a:lnTo>
                  <a:pt x="218" y="331"/>
                </a:lnTo>
                <a:lnTo>
                  <a:pt x="236" y="335"/>
                </a:lnTo>
                <a:lnTo>
                  <a:pt x="252" y="342"/>
                </a:lnTo>
                <a:lnTo>
                  <a:pt x="268" y="349"/>
                </a:lnTo>
                <a:lnTo>
                  <a:pt x="283" y="358"/>
                </a:lnTo>
                <a:lnTo>
                  <a:pt x="297" y="368"/>
                </a:lnTo>
                <a:lnTo>
                  <a:pt x="310" y="379"/>
                </a:lnTo>
                <a:lnTo>
                  <a:pt x="321" y="392"/>
                </a:lnTo>
                <a:lnTo>
                  <a:pt x="332" y="406"/>
                </a:lnTo>
                <a:lnTo>
                  <a:pt x="341" y="420"/>
                </a:lnTo>
                <a:lnTo>
                  <a:pt x="349" y="436"/>
                </a:lnTo>
                <a:lnTo>
                  <a:pt x="355" y="452"/>
                </a:lnTo>
                <a:lnTo>
                  <a:pt x="360" y="470"/>
                </a:lnTo>
                <a:lnTo>
                  <a:pt x="363" y="487"/>
                </a:lnTo>
                <a:lnTo>
                  <a:pt x="365" y="505"/>
                </a:lnTo>
                <a:lnTo>
                  <a:pt x="0" y="505"/>
                </a:lnTo>
                <a:lnTo>
                  <a:pt x="2" y="487"/>
                </a:lnTo>
                <a:lnTo>
                  <a:pt x="5" y="470"/>
                </a:lnTo>
                <a:lnTo>
                  <a:pt x="10" y="452"/>
                </a:lnTo>
                <a:lnTo>
                  <a:pt x="17" y="436"/>
                </a:lnTo>
                <a:lnTo>
                  <a:pt x="25" y="420"/>
                </a:lnTo>
                <a:lnTo>
                  <a:pt x="34" y="406"/>
                </a:lnTo>
                <a:lnTo>
                  <a:pt x="44" y="392"/>
                </a:lnTo>
                <a:lnTo>
                  <a:pt x="56" y="379"/>
                </a:lnTo>
                <a:lnTo>
                  <a:pt x="68" y="368"/>
                </a:lnTo>
                <a:lnTo>
                  <a:pt x="82" y="358"/>
                </a:lnTo>
                <a:lnTo>
                  <a:pt x="98" y="349"/>
                </a:lnTo>
                <a:lnTo>
                  <a:pt x="113" y="342"/>
                </a:lnTo>
                <a:lnTo>
                  <a:pt x="129" y="335"/>
                </a:lnTo>
                <a:lnTo>
                  <a:pt x="146" y="331"/>
                </a:lnTo>
                <a:lnTo>
                  <a:pt x="165" y="328"/>
                </a:lnTo>
                <a:lnTo>
                  <a:pt x="183" y="327"/>
                </a:lnTo>
                <a:close/>
                <a:moveTo>
                  <a:pt x="183" y="109"/>
                </a:moveTo>
                <a:lnTo>
                  <a:pt x="191" y="109"/>
                </a:lnTo>
                <a:lnTo>
                  <a:pt x="199" y="111"/>
                </a:lnTo>
                <a:lnTo>
                  <a:pt x="206" y="113"/>
                </a:lnTo>
                <a:lnTo>
                  <a:pt x="214" y="116"/>
                </a:lnTo>
                <a:lnTo>
                  <a:pt x="221" y="120"/>
                </a:lnTo>
                <a:lnTo>
                  <a:pt x="228" y="125"/>
                </a:lnTo>
                <a:lnTo>
                  <a:pt x="234" y="131"/>
                </a:lnTo>
                <a:lnTo>
                  <a:pt x="240" y="137"/>
                </a:lnTo>
                <a:lnTo>
                  <a:pt x="245" y="144"/>
                </a:lnTo>
                <a:lnTo>
                  <a:pt x="250" y="151"/>
                </a:lnTo>
                <a:lnTo>
                  <a:pt x="254" y="160"/>
                </a:lnTo>
                <a:lnTo>
                  <a:pt x="257" y="168"/>
                </a:lnTo>
                <a:lnTo>
                  <a:pt x="260" y="177"/>
                </a:lnTo>
                <a:lnTo>
                  <a:pt x="261" y="186"/>
                </a:lnTo>
                <a:lnTo>
                  <a:pt x="263" y="196"/>
                </a:lnTo>
                <a:lnTo>
                  <a:pt x="263" y="205"/>
                </a:lnTo>
                <a:lnTo>
                  <a:pt x="263" y="216"/>
                </a:lnTo>
                <a:lnTo>
                  <a:pt x="261" y="226"/>
                </a:lnTo>
                <a:lnTo>
                  <a:pt x="260" y="235"/>
                </a:lnTo>
                <a:lnTo>
                  <a:pt x="257" y="244"/>
                </a:lnTo>
                <a:lnTo>
                  <a:pt x="254" y="252"/>
                </a:lnTo>
                <a:lnTo>
                  <a:pt x="250" y="260"/>
                </a:lnTo>
                <a:lnTo>
                  <a:pt x="245" y="267"/>
                </a:lnTo>
                <a:lnTo>
                  <a:pt x="240" y="274"/>
                </a:lnTo>
                <a:lnTo>
                  <a:pt x="234" y="281"/>
                </a:lnTo>
                <a:lnTo>
                  <a:pt x="228" y="287"/>
                </a:lnTo>
                <a:lnTo>
                  <a:pt x="221" y="292"/>
                </a:lnTo>
                <a:lnTo>
                  <a:pt x="214" y="296"/>
                </a:lnTo>
                <a:lnTo>
                  <a:pt x="206" y="299"/>
                </a:lnTo>
                <a:lnTo>
                  <a:pt x="199" y="301"/>
                </a:lnTo>
                <a:lnTo>
                  <a:pt x="191" y="303"/>
                </a:lnTo>
                <a:lnTo>
                  <a:pt x="183" y="303"/>
                </a:lnTo>
                <a:lnTo>
                  <a:pt x="175" y="303"/>
                </a:lnTo>
                <a:lnTo>
                  <a:pt x="167" y="301"/>
                </a:lnTo>
                <a:lnTo>
                  <a:pt x="159" y="299"/>
                </a:lnTo>
                <a:lnTo>
                  <a:pt x="151" y="296"/>
                </a:lnTo>
                <a:lnTo>
                  <a:pt x="144" y="292"/>
                </a:lnTo>
                <a:lnTo>
                  <a:pt x="137" y="287"/>
                </a:lnTo>
                <a:lnTo>
                  <a:pt x="131" y="281"/>
                </a:lnTo>
                <a:lnTo>
                  <a:pt x="126" y="274"/>
                </a:lnTo>
                <a:lnTo>
                  <a:pt x="121" y="267"/>
                </a:lnTo>
                <a:lnTo>
                  <a:pt x="116" y="260"/>
                </a:lnTo>
                <a:lnTo>
                  <a:pt x="112" y="252"/>
                </a:lnTo>
                <a:lnTo>
                  <a:pt x="109" y="244"/>
                </a:lnTo>
                <a:lnTo>
                  <a:pt x="106" y="235"/>
                </a:lnTo>
                <a:lnTo>
                  <a:pt x="104" y="226"/>
                </a:lnTo>
                <a:lnTo>
                  <a:pt x="103" y="216"/>
                </a:lnTo>
                <a:lnTo>
                  <a:pt x="103" y="205"/>
                </a:lnTo>
                <a:lnTo>
                  <a:pt x="103" y="196"/>
                </a:lnTo>
                <a:lnTo>
                  <a:pt x="104" y="186"/>
                </a:lnTo>
                <a:lnTo>
                  <a:pt x="106" y="177"/>
                </a:lnTo>
                <a:lnTo>
                  <a:pt x="109" y="168"/>
                </a:lnTo>
                <a:lnTo>
                  <a:pt x="112" y="160"/>
                </a:lnTo>
                <a:lnTo>
                  <a:pt x="116" y="151"/>
                </a:lnTo>
                <a:lnTo>
                  <a:pt x="121" y="144"/>
                </a:lnTo>
                <a:lnTo>
                  <a:pt x="126" y="137"/>
                </a:lnTo>
                <a:lnTo>
                  <a:pt x="131" y="131"/>
                </a:lnTo>
                <a:lnTo>
                  <a:pt x="137" y="125"/>
                </a:lnTo>
                <a:lnTo>
                  <a:pt x="144" y="120"/>
                </a:lnTo>
                <a:lnTo>
                  <a:pt x="151" y="116"/>
                </a:lnTo>
                <a:lnTo>
                  <a:pt x="159" y="113"/>
                </a:lnTo>
                <a:lnTo>
                  <a:pt x="167" y="111"/>
                </a:lnTo>
                <a:lnTo>
                  <a:pt x="175" y="109"/>
                </a:lnTo>
                <a:lnTo>
                  <a:pt x="183" y="109"/>
                </a:lnTo>
                <a:close/>
                <a:moveTo>
                  <a:pt x="479" y="0"/>
                </a:moveTo>
                <a:lnTo>
                  <a:pt x="490" y="1"/>
                </a:lnTo>
                <a:lnTo>
                  <a:pt x="500" y="3"/>
                </a:lnTo>
                <a:lnTo>
                  <a:pt x="510" y="6"/>
                </a:lnTo>
                <a:lnTo>
                  <a:pt x="520" y="10"/>
                </a:lnTo>
                <a:lnTo>
                  <a:pt x="529" y="15"/>
                </a:lnTo>
                <a:lnTo>
                  <a:pt x="537" y="21"/>
                </a:lnTo>
                <a:lnTo>
                  <a:pt x="545" y="28"/>
                </a:lnTo>
                <a:lnTo>
                  <a:pt x="552" y="37"/>
                </a:lnTo>
                <a:lnTo>
                  <a:pt x="558" y="46"/>
                </a:lnTo>
                <a:lnTo>
                  <a:pt x="564" y="55"/>
                </a:lnTo>
                <a:lnTo>
                  <a:pt x="569" y="65"/>
                </a:lnTo>
                <a:lnTo>
                  <a:pt x="573" y="76"/>
                </a:lnTo>
                <a:lnTo>
                  <a:pt x="578" y="87"/>
                </a:lnTo>
                <a:lnTo>
                  <a:pt x="580" y="100"/>
                </a:lnTo>
                <a:lnTo>
                  <a:pt x="582" y="112"/>
                </a:lnTo>
                <a:lnTo>
                  <a:pt x="582" y="124"/>
                </a:lnTo>
                <a:lnTo>
                  <a:pt x="582" y="137"/>
                </a:lnTo>
                <a:lnTo>
                  <a:pt x="580" y="149"/>
                </a:lnTo>
                <a:lnTo>
                  <a:pt x="578" y="161"/>
                </a:lnTo>
                <a:lnTo>
                  <a:pt x="573" y="172"/>
                </a:lnTo>
                <a:lnTo>
                  <a:pt x="569" y="183"/>
                </a:lnTo>
                <a:lnTo>
                  <a:pt x="564" y="193"/>
                </a:lnTo>
                <a:lnTo>
                  <a:pt x="558" y="202"/>
                </a:lnTo>
                <a:lnTo>
                  <a:pt x="552" y="211"/>
                </a:lnTo>
                <a:lnTo>
                  <a:pt x="545" y="220"/>
                </a:lnTo>
                <a:lnTo>
                  <a:pt x="537" y="227"/>
                </a:lnTo>
                <a:lnTo>
                  <a:pt x="529" y="233"/>
                </a:lnTo>
                <a:lnTo>
                  <a:pt x="520" y="238"/>
                </a:lnTo>
                <a:lnTo>
                  <a:pt x="510" y="242"/>
                </a:lnTo>
                <a:lnTo>
                  <a:pt x="500" y="245"/>
                </a:lnTo>
                <a:lnTo>
                  <a:pt x="490" y="247"/>
                </a:lnTo>
                <a:lnTo>
                  <a:pt x="479" y="248"/>
                </a:lnTo>
                <a:lnTo>
                  <a:pt x="469" y="247"/>
                </a:lnTo>
                <a:lnTo>
                  <a:pt x="459" y="245"/>
                </a:lnTo>
                <a:lnTo>
                  <a:pt x="449" y="242"/>
                </a:lnTo>
                <a:lnTo>
                  <a:pt x="440" y="238"/>
                </a:lnTo>
                <a:lnTo>
                  <a:pt x="430" y="233"/>
                </a:lnTo>
                <a:lnTo>
                  <a:pt x="422" y="227"/>
                </a:lnTo>
                <a:lnTo>
                  <a:pt x="414" y="220"/>
                </a:lnTo>
                <a:lnTo>
                  <a:pt x="407" y="211"/>
                </a:lnTo>
                <a:lnTo>
                  <a:pt x="401" y="202"/>
                </a:lnTo>
                <a:lnTo>
                  <a:pt x="395" y="193"/>
                </a:lnTo>
                <a:lnTo>
                  <a:pt x="390" y="183"/>
                </a:lnTo>
                <a:lnTo>
                  <a:pt x="385" y="172"/>
                </a:lnTo>
                <a:lnTo>
                  <a:pt x="382" y="161"/>
                </a:lnTo>
                <a:lnTo>
                  <a:pt x="380" y="149"/>
                </a:lnTo>
                <a:lnTo>
                  <a:pt x="378" y="137"/>
                </a:lnTo>
                <a:lnTo>
                  <a:pt x="378" y="124"/>
                </a:lnTo>
                <a:lnTo>
                  <a:pt x="378" y="112"/>
                </a:lnTo>
                <a:lnTo>
                  <a:pt x="380" y="100"/>
                </a:lnTo>
                <a:lnTo>
                  <a:pt x="382" y="87"/>
                </a:lnTo>
                <a:lnTo>
                  <a:pt x="385" y="76"/>
                </a:lnTo>
                <a:lnTo>
                  <a:pt x="390" y="65"/>
                </a:lnTo>
                <a:lnTo>
                  <a:pt x="395" y="55"/>
                </a:lnTo>
                <a:lnTo>
                  <a:pt x="401" y="46"/>
                </a:lnTo>
                <a:lnTo>
                  <a:pt x="407" y="37"/>
                </a:lnTo>
                <a:lnTo>
                  <a:pt x="414" y="28"/>
                </a:lnTo>
                <a:lnTo>
                  <a:pt x="422" y="21"/>
                </a:lnTo>
                <a:lnTo>
                  <a:pt x="430" y="15"/>
                </a:lnTo>
                <a:lnTo>
                  <a:pt x="440" y="10"/>
                </a:lnTo>
                <a:lnTo>
                  <a:pt x="449" y="6"/>
                </a:lnTo>
                <a:lnTo>
                  <a:pt x="459" y="3"/>
                </a:lnTo>
                <a:lnTo>
                  <a:pt x="469" y="1"/>
                </a:lnTo>
                <a:lnTo>
                  <a:pt x="479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 noEditPoints="1"/>
          </p:cNvSpPr>
          <p:nvPr/>
        </p:nvSpPr>
        <p:spPr bwMode="auto">
          <a:xfrm>
            <a:off x="6054726" y="1713968"/>
            <a:ext cx="1358148" cy="934894"/>
          </a:xfrm>
          <a:custGeom>
            <a:avLst/>
            <a:gdLst>
              <a:gd name="T0" fmla="*/ 388 w 409"/>
              <a:gd name="T1" fmla="*/ 0 h 684"/>
              <a:gd name="T2" fmla="*/ 396 w 409"/>
              <a:gd name="T3" fmla="*/ 2 h 684"/>
              <a:gd name="T4" fmla="*/ 403 w 409"/>
              <a:gd name="T5" fmla="*/ 6 h 684"/>
              <a:gd name="T6" fmla="*/ 407 w 409"/>
              <a:gd name="T7" fmla="*/ 13 h 684"/>
              <a:gd name="T8" fmla="*/ 409 w 409"/>
              <a:gd name="T9" fmla="*/ 21 h 684"/>
              <a:gd name="T10" fmla="*/ 409 w 409"/>
              <a:gd name="T11" fmla="*/ 666 h 684"/>
              <a:gd name="T12" fmla="*/ 405 w 409"/>
              <a:gd name="T13" fmla="*/ 675 h 684"/>
              <a:gd name="T14" fmla="*/ 400 w 409"/>
              <a:gd name="T15" fmla="*/ 681 h 684"/>
              <a:gd name="T16" fmla="*/ 392 w 409"/>
              <a:gd name="T17" fmla="*/ 684 h 684"/>
              <a:gd name="T18" fmla="*/ 22 w 409"/>
              <a:gd name="T19" fmla="*/ 684 h 684"/>
              <a:gd name="T20" fmla="*/ 13 w 409"/>
              <a:gd name="T21" fmla="*/ 683 h 684"/>
              <a:gd name="T22" fmla="*/ 6 w 409"/>
              <a:gd name="T23" fmla="*/ 678 h 684"/>
              <a:gd name="T24" fmla="*/ 2 w 409"/>
              <a:gd name="T25" fmla="*/ 671 h 684"/>
              <a:gd name="T26" fmla="*/ 0 w 409"/>
              <a:gd name="T27" fmla="*/ 662 h 684"/>
              <a:gd name="T28" fmla="*/ 1 w 409"/>
              <a:gd name="T29" fmla="*/ 17 h 684"/>
              <a:gd name="T30" fmla="*/ 4 w 409"/>
              <a:gd name="T31" fmla="*/ 9 h 684"/>
              <a:gd name="T32" fmla="*/ 10 w 409"/>
              <a:gd name="T33" fmla="*/ 4 h 684"/>
              <a:gd name="T34" fmla="*/ 17 w 409"/>
              <a:gd name="T35" fmla="*/ 1 h 684"/>
              <a:gd name="T36" fmla="*/ 51 w 409"/>
              <a:gd name="T37" fmla="*/ 360 h 684"/>
              <a:gd name="T38" fmla="*/ 106 w 409"/>
              <a:gd name="T39" fmla="*/ 419 h 684"/>
              <a:gd name="T40" fmla="*/ 51 w 409"/>
              <a:gd name="T41" fmla="*/ 360 h 684"/>
              <a:gd name="T42" fmla="*/ 278 w 409"/>
              <a:gd name="T43" fmla="*/ 579 h 684"/>
              <a:gd name="T44" fmla="*/ 223 w 409"/>
              <a:gd name="T45" fmla="*/ 637 h 684"/>
              <a:gd name="T46" fmla="*/ 139 w 409"/>
              <a:gd name="T47" fmla="*/ 579 h 684"/>
              <a:gd name="T48" fmla="*/ 194 w 409"/>
              <a:gd name="T49" fmla="*/ 637 h 684"/>
              <a:gd name="T50" fmla="*/ 139 w 409"/>
              <a:gd name="T51" fmla="*/ 579 h 684"/>
              <a:gd name="T52" fmla="*/ 358 w 409"/>
              <a:gd name="T53" fmla="*/ 579 h 684"/>
              <a:gd name="T54" fmla="*/ 304 w 409"/>
              <a:gd name="T55" fmla="*/ 637 h 684"/>
              <a:gd name="T56" fmla="*/ 51 w 409"/>
              <a:gd name="T57" fmla="*/ 579 h 684"/>
              <a:gd name="T58" fmla="*/ 106 w 409"/>
              <a:gd name="T59" fmla="*/ 637 h 684"/>
              <a:gd name="T60" fmla="*/ 51 w 409"/>
              <a:gd name="T61" fmla="*/ 579 h 684"/>
              <a:gd name="T62" fmla="*/ 278 w 409"/>
              <a:gd name="T63" fmla="*/ 494 h 684"/>
              <a:gd name="T64" fmla="*/ 223 w 409"/>
              <a:gd name="T65" fmla="*/ 552 h 684"/>
              <a:gd name="T66" fmla="*/ 139 w 409"/>
              <a:gd name="T67" fmla="*/ 494 h 684"/>
              <a:gd name="T68" fmla="*/ 194 w 409"/>
              <a:gd name="T69" fmla="*/ 552 h 684"/>
              <a:gd name="T70" fmla="*/ 139 w 409"/>
              <a:gd name="T71" fmla="*/ 494 h 684"/>
              <a:gd name="T72" fmla="*/ 358 w 409"/>
              <a:gd name="T73" fmla="*/ 494 h 684"/>
              <a:gd name="T74" fmla="*/ 304 w 409"/>
              <a:gd name="T75" fmla="*/ 552 h 684"/>
              <a:gd name="T76" fmla="*/ 51 w 409"/>
              <a:gd name="T77" fmla="*/ 494 h 684"/>
              <a:gd name="T78" fmla="*/ 106 w 409"/>
              <a:gd name="T79" fmla="*/ 552 h 684"/>
              <a:gd name="T80" fmla="*/ 51 w 409"/>
              <a:gd name="T81" fmla="*/ 494 h 684"/>
              <a:gd name="T82" fmla="*/ 358 w 409"/>
              <a:gd name="T83" fmla="*/ 360 h 684"/>
              <a:gd name="T84" fmla="*/ 304 w 409"/>
              <a:gd name="T85" fmla="*/ 419 h 684"/>
              <a:gd name="T86" fmla="*/ 157 w 409"/>
              <a:gd name="T87" fmla="*/ 360 h 684"/>
              <a:gd name="T88" fmla="*/ 252 w 409"/>
              <a:gd name="T89" fmla="*/ 419 h 684"/>
              <a:gd name="T90" fmla="*/ 157 w 409"/>
              <a:gd name="T91" fmla="*/ 419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9" h="684">
                <a:moveTo>
                  <a:pt x="22" y="0"/>
                </a:moveTo>
                <a:lnTo>
                  <a:pt x="388" y="0"/>
                </a:lnTo>
                <a:lnTo>
                  <a:pt x="392" y="1"/>
                </a:lnTo>
                <a:lnTo>
                  <a:pt x="396" y="2"/>
                </a:lnTo>
                <a:lnTo>
                  <a:pt x="400" y="4"/>
                </a:lnTo>
                <a:lnTo>
                  <a:pt x="403" y="6"/>
                </a:lnTo>
                <a:lnTo>
                  <a:pt x="405" y="9"/>
                </a:lnTo>
                <a:lnTo>
                  <a:pt x="407" y="13"/>
                </a:lnTo>
                <a:lnTo>
                  <a:pt x="409" y="17"/>
                </a:lnTo>
                <a:lnTo>
                  <a:pt x="409" y="21"/>
                </a:lnTo>
                <a:lnTo>
                  <a:pt x="409" y="662"/>
                </a:lnTo>
                <a:lnTo>
                  <a:pt x="409" y="666"/>
                </a:lnTo>
                <a:lnTo>
                  <a:pt x="407" y="671"/>
                </a:lnTo>
                <a:lnTo>
                  <a:pt x="405" y="675"/>
                </a:lnTo>
                <a:lnTo>
                  <a:pt x="403" y="678"/>
                </a:lnTo>
                <a:lnTo>
                  <a:pt x="400" y="681"/>
                </a:lnTo>
                <a:lnTo>
                  <a:pt x="396" y="683"/>
                </a:lnTo>
                <a:lnTo>
                  <a:pt x="392" y="684"/>
                </a:lnTo>
                <a:lnTo>
                  <a:pt x="388" y="684"/>
                </a:lnTo>
                <a:lnTo>
                  <a:pt x="22" y="684"/>
                </a:lnTo>
                <a:lnTo>
                  <a:pt x="17" y="684"/>
                </a:lnTo>
                <a:lnTo>
                  <a:pt x="13" y="683"/>
                </a:lnTo>
                <a:lnTo>
                  <a:pt x="10" y="681"/>
                </a:lnTo>
                <a:lnTo>
                  <a:pt x="6" y="678"/>
                </a:lnTo>
                <a:lnTo>
                  <a:pt x="4" y="675"/>
                </a:lnTo>
                <a:lnTo>
                  <a:pt x="2" y="671"/>
                </a:lnTo>
                <a:lnTo>
                  <a:pt x="1" y="666"/>
                </a:lnTo>
                <a:lnTo>
                  <a:pt x="0" y="662"/>
                </a:lnTo>
                <a:lnTo>
                  <a:pt x="0" y="21"/>
                </a:lnTo>
                <a:lnTo>
                  <a:pt x="1" y="17"/>
                </a:lnTo>
                <a:lnTo>
                  <a:pt x="2" y="13"/>
                </a:lnTo>
                <a:lnTo>
                  <a:pt x="4" y="9"/>
                </a:lnTo>
                <a:lnTo>
                  <a:pt x="6" y="6"/>
                </a:lnTo>
                <a:lnTo>
                  <a:pt x="10" y="4"/>
                </a:lnTo>
                <a:lnTo>
                  <a:pt x="13" y="2"/>
                </a:lnTo>
                <a:lnTo>
                  <a:pt x="17" y="1"/>
                </a:lnTo>
                <a:lnTo>
                  <a:pt x="22" y="0"/>
                </a:lnTo>
                <a:close/>
                <a:moveTo>
                  <a:pt x="51" y="360"/>
                </a:moveTo>
                <a:lnTo>
                  <a:pt x="106" y="360"/>
                </a:lnTo>
                <a:lnTo>
                  <a:pt x="106" y="419"/>
                </a:lnTo>
                <a:lnTo>
                  <a:pt x="51" y="419"/>
                </a:lnTo>
                <a:lnTo>
                  <a:pt x="51" y="360"/>
                </a:lnTo>
                <a:close/>
                <a:moveTo>
                  <a:pt x="223" y="579"/>
                </a:moveTo>
                <a:lnTo>
                  <a:pt x="278" y="579"/>
                </a:lnTo>
                <a:lnTo>
                  <a:pt x="278" y="637"/>
                </a:lnTo>
                <a:lnTo>
                  <a:pt x="223" y="637"/>
                </a:lnTo>
                <a:lnTo>
                  <a:pt x="223" y="579"/>
                </a:lnTo>
                <a:close/>
                <a:moveTo>
                  <a:pt x="139" y="579"/>
                </a:moveTo>
                <a:lnTo>
                  <a:pt x="194" y="579"/>
                </a:lnTo>
                <a:lnTo>
                  <a:pt x="194" y="637"/>
                </a:lnTo>
                <a:lnTo>
                  <a:pt x="139" y="637"/>
                </a:lnTo>
                <a:lnTo>
                  <a:pt x="139" y="579"/>
                </a:lnTo>
                <a:close/>
                <a:moveTo>
                  <a:pt x="304" y="579"/>
                </a:moveTo>
                <a:lnTo>
                  <a:pt x="358" y="579"/>
                </a:lnTo>
                <a:lnTo>
                  <a:pt x="358" y="637"/>
                </a:lnTo>
                <a:lnTo>
                  <a:pt x="304" y="637"/>
                </a:lnTo>
                <a:lnTo>
                  <a:pt x="304" y="579"/>
                </a:lnTo>
                <a:close/>
                <a:moveTo>
                  <a:pt x="51" y="579"/>
                </a:moveTo>
                <a:lnTo>
                  <a:pt x="106" y="579"/>
                </a:lnTo>
                <a:lnTo>
                  <a:pt x="106" y="637"/>
                </a:lnTo>
                <a:lnTo>
                  <a:pt x="51" y="637"/>
                </a:lnTo>
                <a:lnTo>
                  <a:pt x="51" y="579"/>
                </a:lnTo>
                <a:close/>
                <a:moveTo>
                  <a:pt x="223" y="494"/>
                </a:moveTo>
                <a:lnTo>
                  <a:pt x="278" y="494"/>
                </a:lnTo>
                <a:lnTo>
                  <a:pt x="278" y="552"/>
                </a:lnTo>
                <a:lnTo>
                  <a:pt x="223" y="552"/>
                </a:lnTo>
                <a:lnTo>
                  <a:pt x="223" y="494"/>
                </a:lnTo>
                <a:close/>
                <a:moveTo>
                  <a:pt x="139" y="494"/>
                </a:moveTo>
                <a:lnTo>
                  <a:pt x="194" y="494"/>
                </a:lnTo>
                <a:lnTo>
                  <a:pt x="194" y="552"/>
                </a:lnTo>
                <a:lnTo>
                  <a:pt x="139" y="552"/>
                </a:lnTo>
                <a:lnTo>
                  <a:pt x="139" y="494"/>
                </a:lnTo>
                <a:close/>
                <a:moveTo>
                  <a:pt x="304" y="494"/>
                </a:moveTo>
                <a:lnTo>
                  <a:pt x="358" y="494"/>
                </a:lnTo>
                <a:lnTo>
                  <a:pt x="358" y="552"/>
                </a:lnTo>
                <a:lnTo>
                  <a:pt x="304" y="552"/>
                </a:lnTo>
                <a:lnTo>
                  <a:pt x="304" y="494"/>
                </a:lnTo>
                <a:close/>
                <a:moveTo>
                  <a:pt x="51" y="494"/>
                </a:moveTo>
                <a:lnTo>
                  <a:pt x="106" y="494"/>
                </a:lnTo>
                <a:lnTo>
                  <a:pt x="106" y="552"/>
                </a:lnTo>
                <a:lnTo>
                  <a:pt x="51" y="552"/>
                </a:lnTo>
                <a:lnTo>
                  <a:pt x="51" y="494"/>
                </a:lnTo>
                <a:close/>
                <a:moveTo>
                  <a:pt x="304" y="360"/>
                </a:moveTo>
                <a:lnTo>
                  <a:pt x="358" y="360"/>
                </a:lnTo>
                <a:lnTo>
                  <a:pt x="358" y="419"/>
                </a:lnTo>
                <a:lnTo>
                  <a:pt x="304" y="419"/>
                </a:lnTo>
                <a:lnTo>
                  <a:pt x="304" y="360"/>
                </a:lnTo>
                <a:close/>
                <a:moveTo>
                  <a:pt x="157" y="360"/>
                </a:moveTo>
                <a:lnTo>
                  <a:pt x="252" y="360"/>
                </a:lnTo>
                <a:lnTo>
                  <a:pt x="252" y="419"/>
                </a:lnTo>
                <a:lnTo>
                  <a:pt x="205" y="443"/>
                </a:lnTo>
                <a:lnTo>
                  <a:pt x="157" y="419"/>
                </a:lnTo>
                <a:lnTo>
                  <a:pt x="157" y="36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6134496" y="1926693"/>
            <a:ext cx="1166310" cy="275141"/>
          </a:xfrm>
          <a:custGeom>
            <a:avLst/>
            <a:gdLst>
              <a:gd name="T0" fmla="*/ 0 w 307"/>
              <a:gd name="T1" fmla="*/ 0 h 203"/>
              <a:gd name="T2" fmla="*/ 148 w 307"/>
              <a:gd name="T3" fmla="*/ 203 h 203"/>
              <a:gd name="T4" fmla="*/ 307 w 307"/>
              <a:gd name="T5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07" h="203">
                <a:moveTo>
                  <a:pt x="0" y="0"/>
                </a:moveTo>
                <a:lnTo>
                  <a:pt x="148" y="203"/>
                </a:lnTo>
                <a:lnTo>
                  <a:pt x="307" y="0"/>
                </a:lnTo>
              </a:path>
            </a:pathLst>
          </a:custGeom>
          <a:noFill/>
          <a:ln w="4">
            <a:solidFill>
              <a:srgbClr val="3BB3C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 noEditPoints="1"/>
          </p:cNvSpPr>
          <p:nvPr/>
        </p:nvSpPr>
        <p:spPr bwMode="auto">
          <a:xfrm>
            <a:off x="1246823" y="4884736"/>
            <a:ext cx="1872339" cy="284381"/>
          </a:xfrm>
          <a:custGeom>
            <a:avLst/>
            <a:gdLst>
              <a:gd name="T0" fmla="*/ 2 w 1104"/>
              <a:gd name="T1" fmla="*/ 47 h 644"/>
              <a:gd name="T2" fmla="*/ 10 w 1104"/>
              <a:gd name="T3" fmla="*/ 25 h 644"/>
              <a:gd name="T4" fmla="*/ 27 w 1104"/>
              <a:gd name="T5" fmla="*/ 10 h 644"/>
              <a:gd name="T6" fmla="*/ 48 w 1104"/>
              <a:gd name="T7" fmla="*/ 1 h 644"/>
              <a:gd name="T8" fmla="*/ 1050 w 1104"/>
              <a:gd name="T9" fmla="*/ 0 h 644"/>
              <a:gd name="T10" fmla="*/ 1073 w 1104"/>
              <a:gd name="T11" fmla="*/ 7 h 644"/>
              <a:gd name="T12" fmla="*/ 1090 w 1104"/>
              <a:gd name="T13" fmla="*/ 21 h 644"/>
              <a:gd name="T14" fmla="*/ 1101 w 1104"/>
              <a:gd name="T15" fmla="*/ 42 h 644"/>
              <a:gd name="T16" fmla="*/ 1104 w 1104"/>
              <a:gd name="T17" fmla="*/ 584 h 644"/>
              <a:gd name="T18" fmla="*/ 1099 w 1104"/>
              <a:gd name="T19" fmla="*/ 608 h 644"/>
              <a:gd name="T20" fmla="*/ 1086 w 1104"/>
              <a:gd name="T21" fmla="*/ 627 h 644"/>
              <a:gd name="T22" fmla="*/ 1068 w 1104"/>
              <a:gd name="T23" fmla="*/ 639 h 644"/>
              <a:gd name="T24" fmla="*/ 1044 w 1104"/>
              <a:gd name="T25" fmla="*/ 644 h 644"/>
              <a:gd name="T26" fmla="*/ 43 w 1104"/>
              <a:gd name="T27" fmla="*/ 641 h 644"/>
              <a:gd name="T28" fmla="*/ 23 w 1104"/>
              <a:gd name="T29" fmla="*/ 630 h 644"/>
              <a:gd name="T30" fmla="*/ 7 w 1104"/>
              <a:gd name="T31" fmla="*/ 613 h 644"/>
              <a:gd name="T32" fmla="*/ 1 w 1104"/>
              <a:gd name="T33" fmla="*/ 591 h 644"/>
              <a:gd name="T34" fmla="*/ 351 w 1104"/>
              <a:gd name="T35" fmla="*/ 386 h 644"/>
              <a:gd name="T36" fmla="*/ 284 w 1104"/>
              <a:gd name="T37" fmla="*/ 216 h 644"/>
              <a:gd name="T38" fmla="*/ 307 w 1104"/>
              <a:gd name="T39" fmla="*/ 267 h 644"/>
              <a:gd name="T40" fmla="*/ 442 w 1104"/>
              <a:gd name="T41" fmla="*/ 216 h 644"/>
              <a:gd name="T42" fmla="*/ 557 w 1104"/>
              <a:gd name="T43" fmla="*/ 218 h 644"/>
              <a:gd name="T44" fmla="*/ 591 w 1104"/>
              <a:gd name="T45" fmla="*/ 234 h 644"/>
              <a:gd name="T46" fmla="*/ 609 w 1104"/>
              <a:gd name="T47" fmla="*/ 271 h 644"/>
              <a:gd name="T48" fmla="*/ 606 w 1104"/>
              <a:gd name="T49" fmla="*/ 310 h 644"/>
              <a:gd name="T50" fmla="*/ 589 w 1104"/>
              <a:gd name="T51" fmla="*/ 335 h 644"/>
              <a:gd name="T52" fmla="*/ 566 w 1104"/>
              <a:gd name="T53" fmla="*/ 348 h 644"/>
              <a:gd name="T54" fmla="*/ 529 w 1104"/>
              <a:gd name="T55" fmla="*/ 353 h 644"/>
              <a:gd name="T56" fmla="*/ 442 w 1104"/>
              <a:gd name="T57" fmla="*/ 436 h 644"/>
              <a:gd name="T58" fmla="*/ 523 w 1104"/>
              <a:gd name="T59" fmla="*/ 315 h 644"/>
              <a:gd name="T60" fmla="*/ 549 w 1104"/>
              <a:gd name="T61" fmla="*/ 310 h 644"/>
              <a:gd name="T62" fmla="*/ 561 w 1104"/>
              <a:gd name="T63" fmla="*/ 298 h 644"/>
              <a:gd name="T64" fmla="*/ 563 w 1104"/>
              <a:gd name="T65" fmla="*/ 278 h 644"/>
              <a:gd name="T66" fmla="*/ 553 w 1104"/>
              <a:gd name="T67" fmla="*/ 261 h 644"/>
              <a:gd name="T68" fmla="*/ 534 w 1104"/>
              <a:gd name="T69" fmla="*/ 254 h 644"/>
              <a:gd name="T70" fmla="*/ 486 w 1104"/>
              <a:gd name="T71" fmla="*/ 253 h 644"/>
              <a:gd name="T72" fmla="*/ 736 w 1104"/>
              <a:gd name="T73" fmla="*/ 216 h 644"/>
              <a:gd name="T74" fmla="*/ 778 w 1104"/>
              <a:gd name="T75" fmla="*/ 223 h 644"/>
              <a:gd name="T76" fmla="*/ 807 w 1104"/>
              <a:gd name="T77" fmla="*/ 250 h 644"/>
              <a:gd name="T78" fmla="*/ 813 w 1104"/>
              <a:gd name="T79" fmla="*/ 294 h 644"/>
              <a:gd name="T80" fmla="*/ 803 w 1104"/>
              <a:gd name="T81" fmla="*/ 324 h 644"/>
              <a:gd name="T82" fmla="*/ 783 w 1104"/>
              <a:gd name="T83" fmla="*/ 342 h 644"/>
              <a:gd name="T84" fmla="*/ 756 w 1104"/>
              <a:gd name="T85" fmla="*/ 351 h 644"/>
              <a:gd name="T86" fmla="*/ 690 w 1104"/>
              <a:gd name="T87" fmla="*/ 353 h 644"/>
              <a:gd name="T88" fmla="*/ 690 w 1104"/>
              <a:gd name="T89" fmla="*/ 315 h 644"/>
              <a:gd name="T90" fmla="*/ 744 w 1104"/>
              <a:gd name="T91" fmla="*/ 314 h 644"/>
              <a:gd name="T92" fmla="*/ 760 w 1104"/>
              <a:gd name="T93" fmla="*/ 305 h 644"/>
              <a:gd name="T94" fmla="*/ 768 w 1104"/>
              <a:gd name="T95" fmla="*/ 289 h 644"/>
              <a:gd name="T96" fmla="*/ 764 w 1104"/>
              <a:gd name="T97" fmla="*/ 268 h 644"/>
              <a:gd name="T98" fmla="*/ 749 w 1104"/>
              <a:gd name="T99" fmla="*/ 256 h 644"/>
              <a:gd name="T100" fmla="*/ 723 w 1104"/>
              <a:gd name="T101" fmla="*/ 253 h 644"/>
              <a:gd name="T102" fmla="*/ 1043 w 1104"/>
              <a:gd name="T103" fmla="*/ 279 h 644"/>
              <a:gd name="T104" fmla="*/ 1070 w 1104"/>
              <a:gd name="T105" fmla="*/ 298 h 644"/>
              <a:gd name="T106" fmla="*/ 1077 w 1104"/>
              <a:gd name="T107" fmla="*/ 330 h 644"/>
              <a:gd name="T108" fmla="*/ 1058 w 1104"/>
              <a:gd name="T109" fmla="*/ 358 h 644"/>
              <a:gd name="T110" fmla="*/ 1025 w 1104"/>
              <a:gd name="T111" fmla="*/ 364 h 644"/>
              <a:gd name="T112" fmla="*/ 999 w 1104"/>
              <a:gd name="T113" fmla="*/ 347 h 644"/>
              <a:gd name="T114" fmla="*/ 992 w 1104"/>
              <a:gd name="T115" fmla="*/ 313 h 644"/>
              <a:gd name="T116" fmla="*/ 1010 w 1104"/>
              <a:gd name="T117" fmla="*/ 286 h 644"/>
              <a:gd name="T118" fmla="*/ 47 w 1104"/>
              <a:gd name="T119" fmla="*/ 62 h 644"/>
              <a:gd name="T120" fmla="*/ 47 w 1104"/>
              <a:gd name="T121" fmla="*/ 62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04" h="644">
                <a:moveTo>
                  <a:pt x="0" y="584"/>
                </a:moveTo>
                <a:lnTo>
                  <a:pt x="0" y="59"/>
                </a:lnTo>
                <a:lnTo>
                  <a:pt x="1" y="53"/>
                </a:lnTo>
                <a:lnTo>
                  <a:pt x="2" y="47"/>
                </a:lnTo>
                <a:lnTo>
                  <a:pt x="3" y="42"/>
                </a:lnTo>
                <a:lnTo>
                  <a:pt x="5" y="35"/>
                </a:lnTo>
                <a:lnTo>
                  <a:pt x="7" y="30"/>
                </a:lnTo>
                <a:lnTo>
                  <a:pt x="10" y="25"/>
                </a:lnTo>
                <a:lnTo>
                  <a:pt x="15" y="21"/>
                </a:lnTo>
                <a:lnTo>
                  <a:pt x="19" y="17"/>
                </a:lnTo>
                <a:lnTo>
                  <a:pt x="23" y="13"/>
                </a:lnTo>
                <a:lnTo>
                  <a:pt x="27" y="10"/>
                </a:lnTo>
                <a:lnTo>
                  <a:pt x="32" y="7"/>
                </a:lnTo>
                <a:lnTo>
                  <a:pt x="37" y="4"/>
                </a:lnTo>
                <a:lnTo>
                  <a:pt x="43" y="2"/>
                </a:lnTo>
                <a:lnTo>
                  <a:pt x="48" y="1"/>
                </a:lnTo>
                <a:lnTo>
                  <a:pt x="54" y="0"/>
                </a:lnTo>
                <a:lnTo>
                  <a:pt x="60" y="0"/>
                </a:lnTo>
                <a:lnTo>
                  <a:pt x="1044" y="0"/>
                </a:lnTo>
                <a:lnTo>
                  <a:pt x="1050" y="0"/>
                </a:lnTo>
                <a:lnTo>
                  <a:pt x="1056" y="1"/>
                </a:lnTo>
                <a:lnTo>
                  <a:pt x="1062" y="2"/>
                </a:lnTo>
                <a:lnTo>
                  <a:pt x="1068" y="4"/>
                </a:lnTo>
                <a:lnTo>
                  <a:pt x="1073" y="7"/>
                </a:lnTo>
                <a:lnTo>
                  <a:pt x="1078" y="10"/>
                </a:lnTo>
                <a:lnTo>
                  <a:pt x="1082" y="13"/>
                </a:lnTo>
                <a:lnTo>
                  <a:pt x="1086" y="17"/>
                </a:lnTo>
                <a:lnTo>
                  <a:pt x="1090" y="21"/>
                </a:lnTo>
                <a:lnTo>
                  <a:pt x="1094" y="25"/>
                </a:lnTo>
                <a:lnTo>
                  <a:pt x="1097" y="30"/>
                </a:lnTo>
                <a:lnTo>
                  <a:pt x="1099" y="35"/>
                </a:lnTo>
                <a:lnTo>
                  <a:pt x="1101" y="42"/>
                </a:lnTo>
                <a:lnTo>
                  <a:pt x="1103" y="47"/>
                </a:lnTo>
                <a:lnTo>
                  <a:pt x="1103" y="53"/>
                </a:lnTo>
                <a:lnTo>
                  <a:pt x="1104" y="59"/>
                </a:lnTo>
                <a:lnTo>
                  <a:pt x="1104" y="584"/>
                </a:lnTo>
                <a:lnTo>
                  <a:pt x="1103" y="591"/>
                </a:lnTo>
                <a:lnTo>
                  <a:pt x="1103" y="597"/>
                </a:lnTo>
                <a:lnTo>
                  <a:pt x="1101" y="603"/>
                </a:lnTo>
                <a:lnTo>
                  <a:pt x="1099" y="608"/>
                </a:lnTo>
                <a:lnTo>
                  <a:pt x="1097" y="613"/>
                </a:lnTo>
                <a:lnTo>
                  <a:pt x="1094" y="618"/>
                </a:lnTo>
                <a:lnTo>
                  <a:pt x="1090" y="622"/>
                </a:lnTo>
                <a:lnTo>
                  <a:pt x="1086" y="627"/>
                </a:lnTo>
                <a:lnTo>
                  <a:pt x="1082" y="630"/>
                </a:lnTo>
                <a:lnTo>
                  <a:pt x="1078" y="634"/>
                </a:lnTo>
                <a:lnTo>
                  <a:pt x="1073" y="637"/>
                </a:lnTo>
                <a:lnTo>
                  <a:pt x="1068" y="639"/>
                </a:lnTo>
                <a:lnTo>
                  <a:pt x="1062" y="641"/>
                </a:lnTo>
                <a:lnTo>
                  <a:pt x="1056" y="643"/>
                </a:lnTo>
                <a:lnTo>
                  <a:pt x="1050" y="643"/>
                </a:lnTo>
                <a:lnTo>
                  <a:pt x="1044" y="644"/>
                </a:lnTo>
                <a:lnTo>
                  <a:pt x="60" y="644"/>
                </a:lnTo>
                <a:lnTo>
                  <a:pt x="54" y="643"/>
                </a:lnTo>
                <a:lnTo>
                  <a:pt x="48" y="643"/>
                </a:lnTo>
                <a:lnTo>
                  <a:pt x="43" y="641"/>
                </a:lnTo>
                <a:lnTo>
                  <a:pt x="37" y="639"/>
                </a:lnTo>
                <a:lnTo>
                  <a:pt x="32" y="637"/>
                </a:lnTo>
                <a:lnTo>
                  <a:pt x="27" y="634"/>
                </a:lnTo>
                <a:lnTo>
                  <a:pt x="23" y="630"/>
                </a:lnTo>
                <a:lnTo>
                  <a:pt x="19" y="627"/>
                </a:lnTo>
                <a:lnTo>
                  <a:pt x="15" y="622"/>
                </a:lnTo>
                <a:lnTo>
                  <a:pt x="10" y="618"/>
                </a:lnTo>
                <a:lnTo>
                  <a:pt x="7" y="613"/>
                </a:lnTo>
                <a:lnTo>
                  <a:pt x="5" y="608"/>
                </a:lnTo>
                <a:lnTo>
                  <a:pt x="3" y="603"/>
                </a:lnTo>
                <a:lnTo>
                  <a:pt x="2" y="597"/>
                </a:lnTo>
                <a:lnTo>
                  <a:pt x="1" y="591"/>
                </a:lnTo>
                <a:lnTo>
                  <a:pt x="0" y="584"/>
                </a:lnTo>
                <a:close/>
                <a:moveTo>
                  <a:pt x="418" y="436"/>
                </a:moveTo>
                <a:lnTo>
                  <a:pt x="371" y="436"/>
                </a:lnTo>
                <a:lnTo>
                  <a:pt x="351" y="386"/>
                </a:lnTo>
                <a:lnTo>
                  <a:pt x="264" y="386"/>
                </a:lnTo>
                <a:lnTo>
                  <a:pt x="246" y="436"/>
                </a:lnTo>
                <a:lnTo>
                  <a:pt x="199" y="436"/>
                </a:lnTo>
                <a:lnTo>
                  <a:pt x="284" y="216"/>
                </a:lnTo>
                <a:lnTo>
                  <a:pt x="331" y="216"/>
                </a:lnTo>
                <a:lnTo>
                  <a:pt x="418" y="436"/>
                </a:lnTo>
                <a:close/>
                <a:moveTo>
                  <a:pt x="337" y="349"/>
                </a:moveTo>
                <a:lnTo>
                  <a:pt x="307" y="267"/>
                </a:lnTo>
                <a:lnTo>
                  <a:pt x="277" y="349"/>
                </a:lnTo>
                <a:lnTo>
                  <a:pt x="337" y="349"/>
                </a:lnTo>
                <a:close/>
                <a:moveTo>
                  <a:pt x="442" y="436"/>
                </a:moveTo>
                <a:lnTo>
                  <a:pt x="442" y="216"/>
                </a:lnTo>
                <a:lnTo>
                  <a:pt x="513" y="216"/>
                </a:lnTo>
                <a:lnTo>
                  <a:pt x="531" y="216"/>
                </a:lnTo>
                <a:lnTo>
                  <a:pt x="546" y="217"/>
                </a:lnTo>
                <a:lnTo>
                  <a:pt x="557" y="218"/>
                </a:lnTo>
                <a:lnTo>
                  <a:pt x="565" y="219"/>
                </a:lnTo>
                <a:lnTo>
                  <a:pt x="575" y="223"/>
                </a:lnTo>
                <a:lnTo>
                  <a:pt x="583" y="228"/>
                </a:lnTo>
                <a:lnTo>
                  <a:pt x="591" y="234"/>
                </a:lnTo>
                <a:lnTo>
                  <a:pt x="597" y="241"/>
                </a:lnTo>
                <a:lnTo>
                  <a:pt x="603" y="250"/>
                </a:lnTo>
                <a:lnTo>
                  <a:pt x="607" y="260"/>
                </a:lnTo>
                <a:lnTo>
                  <a:pt x="609" y="271"/>
                </a:lnTo>
                <a:lnTo>
                  <a:pt x="610" y="284"/>
                </a:lnTo>
                <a:lnTo>
                  <a:pt x="609" y="294"/>
                </a:lnTo>
                <a:lnTo>
                  <a:pt x="608" y="302"/>
                </a:lnTo>
                <a:lnTo>
                  <a:pt x="606" y="310"/>
                </a:lnTo>
                <a:lnTo>
                  <a:pt x="602" y="318"/>
                </a:lnTo>
                <a:lnTo>
                  <a:pt x="599" y="324"/>
                </a:lnTo>
                <a:lnTo>
                  <a:pt x="594" y="330"/>
                </a:lnTo>
                <a:lnTo>
                  <a:pt x="589" y="335"/>
                </a:lnTo>
                <a:lnTo>
                  <a:pt x="584" y="339"/>
                </a:lnTo>
                <a:lnTo>
                  <a:pt x="579" y="342"/>
                </a:lnTo>
                <a:lnTo>
                  <a:pt x="573" y="346"/>
                </a:lnTo>
                <a:lnTo>
                  <a:pt x="566" y="348"/>
                </a:lnTo>
                <a:lnTo>
                  <a:pt x="561" y="350"/>
                </a:lnTo>
                <a:lnTo>
                  <a:pt x="552" y="351"/>
                </a:lnTo>
                <a:lnTo>
                  <a:pt x="541" y="352"/>
                </a:lnTo>
                <a:lnTo>
                  <a:pt x="529" y="353"/>
                </a:lnTo>
                <a:lnTo>
                  <a:pt x="515" y="353"/>
                </a:lnTo>
                <a:lnTo>
                  <a:pt x="486" y="353"/>
                </a:lnTo>
                <a:lnTo>
                  <a:pt x="486" y="436"/>
                </a:lnTo>
                <a:lnTo>
                  <a:pt x="442" y="436"/>
                </a:lnTo>
                <a:close/>
                <a:moveTo>
                  <a:pt x="486" y="253"/>
                </a:moveTo>
                <a:lnTo>
                  <a:pt x="486" y="315"/>
                </a:lnTo>
                <a:lnTo>
                  <a:pt x="511" y="315"/>
                </a:lnTo>
                <a:lnTo>
                  <a:pt x="523" y="315"/>
                </a:lnTo>
                <a:lnTo>
                  <a:pt x="532" y="315"/>
                </a:lnTo>
                <a:lnTo>
                  <a:pt x="540" y="314"/>
                </a:lnTo>
                <a:lnTo>
                  <a:pt x="545" y="312"/>
                </a:lnTo>
                <a:lnTo>
                  <a:pt x="549" y="310"/>
                </a:lnTo>
                <a:lnTo>
                  <a:pt x="553" y="308"/>
                </a:lnTo>
                <a:lnTo>
                  <a:pt x="556" y="305"/>
                </a:lnTo>
                <a:lnTo>
                  <a:pt x="559" y="302"/>
                </a:lnTo>
                <a:lnTo>
                  <a:pt x="561" y="298"/>
                </a:lnTo>
                <a:lnTo>
                  <a:pt x="563" y="294"/>
                </a:lnTo>
                <a:lnTo>
                  <a:pt x="563" y="289"/>
                </a:lnTo>
                <a:lnTo>
                  <a:pt x="564" y="285"/>
                </a:lnTo>
                <a:lnTo>
                  <a:pt x="563" y="278"/>
                </a:lnTo>
                <a:lnTo>
                  <a:pt x="562" y="273"/>
                </a:lnTo>
                <a:lnTo>
                  <a:pt x="560" y="268"/>
                </a:lnTo>
                <a:lnTo>
                  <a:pt x="557" y="264"/>
                </a:lnTo>
                <a:lnTo>
                  <a:pt x="553" y="261"/>
                </a:lnTo>
                <a:lnTo>
                  <a:pt x="549" y="258"/>
                </a:lnTo>
                <a:lnTo>
                  <a:pt x="544" y="256"/>
                </a:lnTo>
                <a:lnTo>
                  <a:pt x="539" y="255"/>
                </a:lnTo>
                <a:lnTo>
                  <a:pt x="534" y="254"/>
                </a:lnTo>
                <a:lnTo>
                  <a:pt x="528" y="254"/>
                </a:lnTo>
                <a:lnTo>
                  <a:pt x="519" y="253"/>
                </a:lnTo>
                <a:lnTo>
                  <a:pt x="508" y="253"/>
                </a:lnTo>
                <a:lnTo>
                  <a:pt x="486" y="253"/>
                </a:lnTo>
                <a:close/>
                <a:moveTo>
                  <a:pt x="646" y="436"/>
                </a:moveTo>
                <a:lnTo>
                  <a:pt x="646" y="216"/>
                </a:lnTo>
                <a:lnTo>
                  <a:pt x="717" y="216"/>
                </a:lnTo>
                <a:lnTo>
                  <a:pt x="736" y="216"/>
                </a:lnTo>
                <a:lnTo>
                  <a:pt x="750" y="217"/>
                </a:lnTo>
                <a:lnTo>
                  <a:pt x="761" y="218"/>
                </a:lnTo>
                <a:lnTo>
                  <a:pt x="769" y="219"/>
                </a:lnTo>
                <a:lnTo>
                  <a:pt x="778" y="223"/>
                </a:lnTo>
                <a:lnTo>
                  <a:pt x="787" y="228"/>
                </a:lnTo>
                <a:lnTo>
                  <a:pt x="795" y="234"/>
                </a:lnTo>
                <a:lnTo>
                  <a:pt x="801" y="241"/>
                </a:lnTo>
                <a:lnTo>
                  <a:pt x="807" y="250"/>
                </a:lnTo>
                <a:lnTo>
                  <a:pt x="811" y="260"/>
                </a:lnTo>
                <a:lnTo>
                  <a:pt x="813" y="271"/>
                </a:lnTo>
                <a:lnTo>
                  <a:pt x="814" y="284"/>
                </a:lnTo>
                <a:lnTo>
                  <a:pt x="813" y="294"/>
                </a:lnTo>
                <a:lnTo>
                  <a:pt x="812" y="302"/>
                </a:lnTo>
                <a:lnTo>
                  <a:pt x="810" y="310"/>
                </a:lnTo>
                <a:lnTo>
                  <a:pt x="807" y="318"/>
                </a:lnTo>
                <a:lnTo>
                  <a:pt x="803" y="324"/>
                </a:lnTo>
                <a:lnTo>
                  <a:pt x="798" y="330"/>
                </a:lnTo>
                <a:lnTo>
                  <a:pt x="794" y="335"/>
                </a:lnTo>
                <a:lnTo>
                  <a:pt x="788" y="339"/>
                </a:lnTo>
                <a:lnTo>
                  <a:pt x="783" y="342"/>
                </a:lnTo>
                <a:lnTo>
                  <a:pt x="776" y="346"/>
                </a:lnTo>
                <a:lnTo>
                  <a:pt x="770" y="348"/>
                </a:lnTo>
                <a:lnTo>
                  <a:pt x="765" y="350"/>
                </a:lnTo>
                <a:lnTo>
                  <a:pt x="756" y="351"/>
                </a:lnTo>
                <a:lnTo>
                  <a:pt x="746" y="352"/>
                </a:lnTo>
                <a:lnTo>
                  <a:pt x="733" y="353"/>
                </a:lnTo>
                <a:lnTo>
                  <a:pt x="719" y="353"/>
                </a:lnTo>
                <a:lnTo>
                  <a:pt x="690" y="353"/>
                </a:lnTo>
                <a:lnTo>
                  <a:pt x="690" y="436"/>
                </a:lnTo>
                <a:lnTo>
                  <a:pt x="646" y="436"/>
                </a:lnTo>
                <a:close/>
                <a:moveTo>
                  <a:pt x="690" y="253"/>
                </a:moveTo>
                <a:lnTo>
                  <a:pt x="690" y="315"/>
                </a:lnTo>
                <a:lnTo>
                  <a:pt x="715" y="315"/>
                </a:lnTo>
                <a:lnTo>
                  <a:pt x="727" y="315"/>
                </a:lnTo>
                <a:lnTo>
                  <a:pt x="736" y="315"/>
                </a:lnTo>
                <a:lnTo>
                  <a:pt x="744" y="314"/>
                </a:lnTo>
                <a:lnTo>
                  <a:pt x="749" y="312"/>
                </a:lnTo>
                <a:lnTo>
                  <a:pt x="753" y="310"/>
                </a:lnTo>
                <a:lnTo>
                  <a:pt x="757" y="308"/>
                </a:lnTo>
                <a:lnTo>
                  <a:pt x="760" y="305"/>
                </a:lnTo>
                <a:lnTo>
                  <a:pt x="763" y="302"/>
                </a:lnTo>
                <a:lnTo>
                  <a:pt x="765" y="298"/>
                </a:lnTo>
                <a:lnTo>
                  <a:pt x="767" y="294"/>
                </a:lnTo>
                <a:lnTo>
                  <a:pt x="768" y="289"/>
                </a:lnTo>
                <a:lnTo>
                  <a:pt x="768" y="285"/>
                </a:lnTo>
                <a:lnTo>
                  <a:pt x="767" y="278"/>
                </a:lnTo>
                <a:lnTo>
                  <a:pt x="766" y="273"/>
                </a:lnTo>
                <a:lnTo>
                  <a:pt x="764" y="268"/>
                </a:lnTo>
                <a:lnTo>
                  <a:pt x="761" y="264"/>
                </a:lnTo>
                <a:lnTo>
                  <a:pt x="757" y="261"/>
                </a:lnTo>
                <a:lnTo>
                  <a:pt x="753" y="258"/>
                </a:lnTo>
                <a:lnTo>
                  <a:pt x="749" y="256"/>
                </a:lnTo>
                <a:lnTo>
                  <a:pt x="743" y="255"/>
                </a:lnTo>
                <a:lnTo>
                  <a:pt x="739" y="254"/>
                </a:lnTo>
                <a:lnTo>
                  <a:pt x="732" y="254"/>
                </a:lnTo>
                <a:lnTo>
                  <a:pt x="723" y="253"/>
                </a:lnTo>
                <a:lnTo>
                  <a:pt x="712" y="253"/>
                </a:lnTo>
                <a:lnTo>
                  <a:pt x="690" y="253"/>
                </a:lnTo>
                <a:close/>
                <a:moveTo>
                  <a:pt x="1034" y="278"/>
                </a:moveTo>
                <a:lnTo>
                  <a:pt x="1043" y="279"/>
                </a:lnTo>
                <a:lnTo>
                  <a:pt x="1051" y="281"/>
                </a:lnTo>
                <a:lnTo>
                  <a:pt x="1058" y="286"/>
                </a:lnTo>
                <a:lnTo>
                  <a:pt x="1065" y="292"/>
                </a:lnTo>
                <a:lnTo>
                  <a:pt x="1070" y="298"/>
                </a:lnTo>
                <a:lnTo>
                  <a:pt x="1074" y="305"/>
                </a:lnTo>
                <a:lnTo>
                  <a:pt x="1077" y="313"/>
                </a:lnTo>
                <a:lnTo>
                  <a:pt x="1078" y="322"/>
                </a:lnTo>
                <a:lnTo>
                  <a:pt x="1077" y="330"/>
                </a:lnTo>
                <a:lnTo>
                  <a:pt x="1074" y="338"/>
                </a:lnTo>
                <a:lnTo>
                  <a:pt x="1070" y="347"/>
                </a:lnTo>
                <a:lnTo>
                  <a:pt x="1065" y="353"/>
                </a:lnTo>
                <a:lnTo>
                  <a:pt x="1058" y="358"/>
                </a:lnTo>
                <a:lnTo>
                  <a:pt x="1051" y="362"/>
                </a:lnTo>
                <a:lnTo>
                  <a:pt x="1043" y="364"/>
                </a:lnTo>
                <a:lnTo>
                  <a:pt x="1034" y="365"/>
                </a:lnTo>
                <a:lnTo>
                  <a:pt x="1025" y="364"/>
                </a:lnTo>
                <a:lnTo>
                  <a:pt x="1017" y="362"/>
                </a:lnTo>
                <a:lnTo>
                  <a:pt x="1010" y="358"/>
                </a:lnTo>
                <a:lnTo>
                  <a:pt x="1004" y="353"/>
                </a:lnTo>
                <a:lnTo>
                  <a:pt x="999" y="347"/>
                </a:lnTo>
                <a:lnTo>
                  <a:pt x="995" y="338"/>
                </a:lnTo>
                <a:lnTo>
                  <a:pt x="992" y="330"/>
                </a:lnTo>
                <a:lnTo>
                  <a:pt x="990" y="322"/>
                </a:lnTo>
                <a:lnTo>
                  <a:pt x="992" y="313"/>
                </a:lnTo>
                <a:lnTo>
                  <a:pt x="995" y="305"/>
                </a:lnTo>
                <a:lnTo>
                  <a:pt x="999" y="298"/>
                </a:lnTo>
                <a:lnTo>
                  <a:pt x="1004" y="292"/>
                </a:lnTo>
                <a:lnTo>
                  <a:pt x="1010" y="286"/>
                </a:lnTo>
                <a:lnTo>
                  <a:pt x="1017" y="281"/>
                </a:lnTo>
                <a:lnTo>
                  <a:pt x="1025" y="279"/>
                </a:lnTo>
                <a:lnTo>
                  <a:pt x="1034" y="278"/>
                </a:lnTo>
                <a:close/>
                <a:moveTo>
                  <a:pt x="47" y="62"/>
                </a:moveTo>
                <a:lnTo>
                  <a:pt x="966" y="62"/>
                </a:lnTo>
                <a:lnTo>
                  <a:pt x="966" y="590"/>
                </a:lnTo>
                <a:lnTo>
                  <a:pt x="47" y="590"/>
                </a:lnTo>
                <a:lnTo>
                  <a:pt x="47" y="6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3340894" y="2811462"/>
            <a:ext cx="979241" cy="526669"/>
          </a:xfrm>
          <a:custGeom>
            <a:avLst/>
            <a:gdLst>
              <a:gd name="T0" fmla="*/ 564 w 614"/>
              <a:gd name="T1" fmla="*/ 0 h 615"/>
              <a:gd name="T2" fmla="*/ 584 w 614"/>
              <a:gd name="T3" fmla="*/ 4 h 615"/>
              <a:gd name="T4" fmla="*/ 599 w 614"/>
              <a:gd name="T5" fmla="*/ 15 h 615"/>
              <a:gd name="T6" fmla="*/ 610 w 614"/>
              <a:gd name="T7" fmla="*/ 31 h 615"/>
              <a:gd name="T8" fmla="*/ 614 w 614"/>
              <a:gd name="T9" fmla="*/ 50 h 615"/>
              <a:gd name="T10" fmla="*/ 613 w 614"/>
              <a:gd name="T11" fmla="*/ 576 h 615"/>
              <a:gd name="T12" fmla="*/ 605 w 614"/>
              <a:gd name="T13" fmla="*/ 594 h 615"/>
              <a:gd name="T14" fmla="*/ 592 w 614"/>
              <a:gd name="T15" fmla="*/ 607 h 615"/>
              <a:gd name="T16" fmla="*/ 575 w 614"/>
              <a:gd name="T17" fmla="*/ 614 h 615"/>
              <a:gd name="T18" fmla="*/ 389 w 614"/>
              <a:gd name="T19" fmla="*/ 615 h 615"/>
              <a:gd name="T20" fmla="*/ 493 w 614"/>
              <a:gd name="T21" fmla="*/ 356 h 615"/>
              <a:gd name="T22" fmla="*/ 389 w 614"/>
              <a:gd name="T23" fmla="*/ 283 h 615"/>
              <a:gd name="T24" fmla="*/ 389 w 614"/>
              <a:gd name="T25" fmla="*/ 234 h 615"/>
              <a:gd name="T26" fmla="*/ 392 w 614"/>
              <a:gd name="T27" fmla="*/ 221 h 615"/>
              <a:gd name="T28" fmla="*/ 397 w 614"/>
              <a:gd name="T29" fmla="*/ 208 h 615"/>
              <a:gd name="T30" fmla="*/ 404 w 614"/>
              <a:gd name="T31" fmla="*/ 197 h 615"/>
              <a:gd name="T32" fmla="*/ 413 w 614"/>
              <a:gd name="T33" fmla="*/ 187 h 615"/>
              <a:gd name="T34" fmla="*/ 424 w 614"/>
              <a:gd name="T35" fmla="*/ 180 h 615"/>
              <a:gd name="T36" fmla="*/ 438 w 614"/>
              <a:gd name="T37" fmla="*/ 175 h 615"/>
              <a:gd name="T38" fmla="*/ 451 w 614"/>
              <a:gd name="T39" fmla="*/ 172 h 615"/>
              <a:gd name="T40" fmla="*/ 529 w 614"/>
              <a:gd name="T41" fmla="*/ 172 h 615"/>
              <a:gd name="T42" fmla="*/ 442 w 614"/>
              <a:gd name="T43" fmla="*/ 101 h 615"/>
              <a:gd name="T44" fmla="*/ 416 w 614"/>
              <a:gd name="T45" fmla="*/ 104 h 615"/>
              <a:gd name="T46" fmla="*/ 392 w 614"/>
              <a:gd name="T47" fmla="*/ 111 h 615"/>
              <a:gd name="T48" fmla="*/ 371 w 614"/>
              <a:gd name="T49" fmla="*/ 122 h 615"/>
              <a:gd name="T50" fmla="*/ 352 w 614"/>
              <a:gd name="T51" fmla="*/ 138 h 615"/>
              <a:gd name="T52" fmla="*/ 336 w 614"/>
              <a:gd name="T53" fmla="*/ 157 h 615"/>
              <a:gd name="T54" fmla="*/ 325 w 614"/>
              <a:gd name="T55" fmla="*/ 178 h 615"/>
              <a:gd name="T56" fmla="*/ 318 w 614"/>
              <a:gd name="T57" fmla="*/ 202 h 615"/>
              <a:gd name="T58" fmla="*/ 315 w 614"/>
              <a:gd name="T59" fmla="*/ 228 h 615"/>
              <a:gd name="T60" fmla="*/ 212 w 614"/>
              <a:gd name="T61" fmla="*/ 283 h 615"/>
              <a:gd name="T62" fmla="*/ 315 w 614"/>
              <a:gd name="T63" fmla="*/ 356 h 615"/>
              <a:gd name="T64" fmla="*/ 50 w 614"/>
              <a:gd name="T65" fmla="*/ 615 h 615"/>
              <a:gd name="T66" fmla="*/ 31 w 614"/>
              <a:gd name="T67" fmla="*/ 611 h 615"/>
              <a:gd name="T68" fmla="*/ 15 w 614"/>
              <a:gd name="T69" fmla="*/ 601 h 615"/>
              <a:gd name="T70" fmla="*/ 4 w 614"/>
              <a:gd name="T71" fmla="*/ 585 h 615"/>
              <a:gd name="T72" fmla="*/ 0 w 614"/>
              <a:gd name="T73" fmla="*/ 565 h 615"/>
              <a:gd name="T74" fmla="*/ 1 w 614"/>
              <a:gd name="T75" fmla="*/ 40 h 615"/>
              <a:gd name="T76" fmla="*/ 8 w 614"/>
              <a:gd name="T77" fmla="*/ 22 h 615"/>
              <a:gd name="T78" fmla="*/ 22 w 614"/>
              <a:gd name="T79" fmla="*/ 9 h 615"/>
              <a:gd name="T80" fmla="*/ 40 w 614"/>
              <a:gd name="T81" fmla="*/ 1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14" h="615">
                <a:moveTo>
                  <a:pt x="50" y="0"/>
                </a:moveTo>
                <a:lnTo>
                  <a:pt x="564" y="0"/>
                </a:lnTo>
                <a:lnTo>
                  <a:pt x="575" y="1"/>
                </a:lnTo>
                <a:lnTo>
                  <a:pt x="584" y="4"/>
                </a:lnTo>
                <a:lnTo>
                  <a:pt x="592" y="9"/>
                </a:lnTo>
                <a:lnTo>
                  <a:pt x="599" y="15"/>
                </a:lnTo>
                <a:lnTo>
                  <a:pt x="605" y="22"/>
                </a:lnTo>
                <a:lnTo>
                  <a:pt x="610" y="31"/>
                </a:lnTo>
                <a:lnTo>
                  <a:pt x="613" y="40"/>
                </a:lnTo>
                <a:lnTo>
                  <a:pt x="614" y="50"/>
                </a:lnTo>
                <a:lnTo>
                  <a:pt x="614" y="565"/>
                </a:lnTo>
                <a:lnTo>
                  <a:pt x="613" y="576"/>
                </a:lnTo>
                <a:lnTo>
                  <a:pt x="610" y="585"/>
                </a:lnTo>
                <a:lnTo>
                  <a:pt x="605" y="594"/>
                </a:lnTo>
                <a:lnTo>
                  <a:pt x="599" y="601"/>
                </a:lnTo>
                <a:lnTo>
                  <a:pt x="592" y="607"/>
                </a:lnTo>
                <a:lnTo>
                  <a:pt x="584" y="611"/>
                </a:lnTo>
                <a:lnTo>
                  <a:pt x="575" y="614"/>
                </a:lnTo>
                <a:lnTo>
                  <a:pt x="564" y="615"/>
                </a:lnTo>
                <a:lnTo>
                  <a:pt x="389" y="615"/>
                </a:lnTo>
                <a:lnTo>
                  <a:pt x="389" y="356"/>
                </a:lnTo>
                <a:lnTo>
                  <a:pt x="493" y="356"/>
                </a:lnTo>
                <a:lnTo>
                  <a:pt x="493" y="283"/>
                </a:lnTo>
                <a:lnTo>
                  <a:pt x="389" y="283"/>
                </a:lnTo>
                <a:lnTo>
                  <a:pt x="389" y="241"/>
                </a:lnTo>
                <a:lnTo>
                  <a:pt x="389" y="234"/>
                </a:lnTo>
                <a:lnTo>
                  <a:pt x="390" y="227"/>
                </a:lnTo>
                <a:lnTo>
                  <a:pt x="392" y="221"/>
                </a:lnTo>
                <a:lnTo>
                  <a:pt x="394" y="214"/>
                </a:lnTo>
                <a:lnTo>
                  <a:pt x="397" y="208"/>
                </a:lnTo>
                <a:lnTo>
                  <a:pt x="400" y="202"/>
                </a:lnTo>
                <a:lnTo>
                  <a:pt x="404" y="197"/>
                </a:lnTo>
                <a:lnTo>
                  <a:pt x="409" y="192"/>
                </a:lnTo>
                <a:lnTo>
                  <a:pt x="413" y="187"/>
                </a:lnTo>
                <a:lnTo>
                  <a:pt x="419" y="183"/>
                </a:lnTo>
                <a:lnTo>
                  <a:pt x="424" y="180"/>
                </a:lnTo>
                <a:lnTo>
                  <a:pt x="430" y="177"/>
                </a:lnTo>
                <a:lnTo>
                  <a:pt x="438" y="175"/>
                </a:lnTo>
                <a:lnTo>
                  <a:pt x="444" y="173"/>
                </a:lnTo>
                <a:lnTo>
                  <a:pt x="451" y="172"/>
                </a:lnTo>
                <a:lnTo>
                  <a:pt x="458" y="172"/>
                </a:lnTo>
                <a:lnTo>
                  <a:pt x="529" y="172"/>
                </a:lnTo>
                <a:lnTo>
                  <a:pt x="529" y="101"/>
                </a:lnTo>
                <a:lnTo>
                  <a:pt x="442" y="101"/>
                </a:lnTo>
                <a:lnTo>
                  <a:pt x="428" y="102"/>
                </a:lnTo>
                <a:lnTo>
                  <a:pt x="416" y="104"/>
                </a:lnTo>
                <a:lnTo>
                  <a:pt x="404" y="107"/>
                </a:lnTo>
                <a:lnTo>
                  <a:pt x="392" y="111"/>
                </a:lnTo>
                <a:lnTo>
                  <a:pt x="381" y="116"/>
                </a:lnTo>
                <a:lnTo>
                  <a:pt x="371" y="122"/>
                </a:lnTo>
                <a:lnTo>
                  <a:pt x="361" y="130"/>
                </a:lnTo>
                <a:lnTo>
                  <a:pt x="352" y="138"/>
                </a:lnTo>
                <a:lnTo>
                  <a:pt x="344" y="147"/>
                </a:lnTo>
                <a:lnTo>
                  <a:pt x="336" y="157"/>
                </a:lnTo>
                <a:lnTo>
                  <a:pt x="330" y="167"/>
                </a:lnTo>
                <a:lnTo>
                  <a:pt x="325" y="178"/>
                </a:lnTo>
                <a:lnTo>
                  <a:pt x="321" y="190"/>
                </a:lnTo>
                <a:lnTo>
                  <a:pt x="318" y="202"/>
                </a:lnTo>
                <a:lnTo>
                  <a:pt x="316" y="215"/>
                </a:lnTo>
                <a:lnTo>
                  <a:pt x="315" y="228"/>
                </a:lnTo>
                <a:lnTo>
                  <a:pt x="315" y="283"/>
                </a:lnTo>
                <a:lnTo>
                  <a:pt x="212" y="283"/>
                </a:lnTo>
                <a:lnTo>
                  <a:pt x="212" y="356"/>
                </a:lnTo>
                <a:lnTo>
                  <a:pt x="315" y="356"/>
                </a:lnTo>
                <a:lnTo>
                  <a:pt x="315" y="615"/>
                </a:lnTo>
                <a:lnTo>
                  <a:pt x="50" y="615"/>
                </a:lnTo>
                <a:lnTo>
                  <a:pt x="40" y="614"/>
                </a:lnTo>
                <a:lnTo>
                  <a:pt x="31" y="611"/>
                </a:lnTo>
                <a:lnTo>
                  <a:pt x="22" y="607"/>
                </a:lnTo>
                <a:lnTo>
                  <a:pt x="15" y="601"/>
                </a:lnTo>
                <a:lnTo>
                  <a:pt x="8" y="594"/>
                </a:lnTo>
                <a:lnTo>
                  <a:pt x="4" y="585"/>
                </a:lnTo>
                <a:lnTo>
                  <a:pt x="1" y="576"/>
                </a:lnTo>
                <a:lnTo>
                  <a:pt x="0" y="565"/>
                </a:lnTo>
                <a:lnTo>
                  <a:pt x="0" y="50"/>
                </a:lnTo>
                <a:lnTo>
                  <a:pt x="1" y="40"/>
                </a:lnTo>
                <a:lnTo>
                  <a:pt x="4" y="31"/>
                </a:lnTo>
                <a:lnTo>
                  <a:pt x="8" y="22"/>
                </a:lnTo>
                <a:lnTo>
                  <a:pt x="15" y="15"/>
                </a:lnTo>
                <a:lnTo>
                  <a:pt x="22" y="9"/>
                </a:lnTo>
                <a:lnTo>
                  <a:pt x="31" y="4"/>
                </a:lnTo>
                <a:lnTo>
                  <a:pt x="40" y="1"/>
                </a:lnTo>
                <a:lnTo>
                  <a:pt x="5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72" name="Group 2071"/>
          <p:cNvGrpSpPr/>
          <p:nvPr/>
        </p:nvGrpSpPr>
        <p:grpSpPr>
          <a:xfrm>
            <a:off x="6434172" y="4651608"/>
            <a:ext cx="1358148" cy="975792"/>
            <a:chOff x="6850063" y="3227388"/>
            <a:chExt cx="203200" cy="265113"/>
          </a:xfrm>
          <a:solidFill>
            <a:schemeClr val="tx2"/>
          </a:solidFill>
        </p:grpSpPr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6850063" y="3227388"/>
              <a:ext cx="203200" cy="265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6884988" y="3348038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6884988" y="3335338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0"/>
            <p:cNvSpPr>
              <a:spLocks noChangeShapeType="1"/>
            </p:cNvSpPr>
            <p:nvPr/>
          </p:nvSpPr>
          <p:spPr bwMode="auto">
            <a:xfrm>
              <a:off x="6884988" y="3321050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1"/>
            <p:cNvSpPr>
              <a:spLocks noChangeShapeType="1"/>
            </p:cNvSpPr>
            <p:nvPr/>
          </p:nvSpPr>
          <p:spPr bwMode="auto">
            <a:xfrm>
              <a:off x="6884988" y="3306763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>
              <a:off x="6884988" y="3292475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>
              <a:off x="6884988" y="3370263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4"/>
            <p:cNvSpPr>
              <a:spLocks noChangeShapeType="1"/>
            </p:cNvSpPr>
            <p:nvPr/>
          </p:nvSpPr>
          <p:spPr bwMode="auto">
            <a:xfrm>
              <a:off x="6884988" y="3384550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5"/>
            <p:cNvSpPr>
              <a:spLocks noChangeShapeType="1"/>
            </p:cNvSpPr>
            <p:nvPr/>
          </p:nvSpPr>
          <p:spPr bwMode="auto">
            <a:xfrm>
              <a:off x="6884988" y="3398838"/>
              <a:ext cx="134938" cy="0"/>
            </a:xfrm>
            <a:prstGeom prst="line">
              <a:avLst/>
            </a:prstGeom>
            <a:grpFill/>
            <a:ln w="4">
              <a:solidFill>
                <a:srgbClr val="1F1A1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Freeform 27"/>
          <p:cNvSpPr>
            <a:spLocks noEditPoints="1"/>
          </p:cNvSpPr>
          <p:nvPr/>
        </p:nvSpPr>
        <p:spPr bwMode="auto">
          <a:xfrm>
            <a:off x="6814987" y="3015831"/>
            <a:ext cx="1954665" cy="625298"/>
          </a:xfrm>
          <a:custGeom>
            <a:avLst/>
            <a:gdLst>
              <a:gd name="T0" fmla="*/ 197 w 1077"/>
              <a:gd name="T1" fmla="*/ 597 h 637"/>
              <a:gd name="T2" fmla="*/ 100 w 1077"/>
              <a:gd name="T3" fmla="*/ 637 h 637"/>
              <a:gd name="T4" fmla="*/ 13 w 1077"/>
              <a:gd name="T5" fmla="*/ 579 h 637"/>
              <a:gd name="T6" fmla="*/ 46 w 1077"/>
              <a:gd name="T7" fmla="*/ 159 h 637"/>
              <a:gd name="T8" fmla="*/ 95 w 1077"/>
              <a:gd name="T9" fmla="*/ 56 h 637"/>
              <a:gd name="T10" fmla="*/ 227 w 1077"/>
              <a:gd name="T11" fmla="*/ 0 h 637"/>
              <a:gd name="T12" fmla="*/ 359 w 1077"/>
              <a:gd name="T13" fmla="*/ 56 h 637"/>
              <a:gd name="T14" fmla="*/ 689 w 1077"/>
              <a:gd name="T15" fmla="*/ 90 h 637"/>
              <a:gd name="T16" fmla="*/ 802 w 1077"/>
              <a:gd name="T17" fmla="*/ 6 h 637"/>
              <a:gd name="T18" fmla="*/ 946 w 1077"/>
              <a:gd name="T19" fmla="*/ 28 h 637"/>
              <a:gd name="T20" fmla="*/ 1026 w 1077"/>
              <a:gd name="T21" fmla="*/ 131 h 637"/>
              <a:gd name="T22" fmla="*/ 1052 w 1077"/>
              <a:gd name="T23" fmla="*/ 597 h 637"/>
              <a:gd name="T24" fmla="*/ 953 w 1077"/>
              <a:gd name="T25" fmla="*/ 637 h 637"/>
              <a:gd name="T26" fmla="*/ 866 w 1077"/>
              <a:gd name="T27" fmla="*/ 579 h 637"/>
              <a:gd name="T28" fmla="*/ 750 w 1077"/>
              <a:gd name="T29" fmla="*/ 401 h 637"/>
              <a:gd name="T30" fmla="*/ 727 w 1077"/>
              <a:gd name="T31" fmla="*/ 459 h 637"/>
              <a:gd name="T32" fmla="*/ 656 w 1077"/>
              <a:gd name="T33" fmla="*/ 481 h 637"/>
              <a:gd name="T34" fmla="*/ 599 w 1077"/>
              <a:gd name="T35" fmla="*/ 434 h 637"/>
              <a:gd name="T36" fmla="*/ 480 w 1077"/>
              <a:gd name="T37" fmla="*/ 404 h 637"/>
              <a:gd name="T38" fmla="*/ 446 w 1077"/>
              <a:gd name="T39" fmla="*/ 469 h 637"/>
              <a:gd name="T40" fmla="*/ 371 w 1077"/>
              <a:gd name="T41" fmla="*/ 476 h 637"/>
              <a:gd name="T42" fmla="*/ 325 w 1077"/>
              <a:gd name="T43" fmla="*/ 420 h 637"/>
              <a:gd name="T44" fmla="*/ 306 w 1077"/>
              <a:gd name="T45" fmla="*/ 163 h 637"/>
              <a:gd name="T46" fmla="*/ 786 w 1077"/>
              <a:gd name="T47" fmla="*/ 153 h 637"/>
              <a:gd name="T48" fmla="*/ 812 w 1077"/>
              <a:gd name="T49" fmla="*/ 194 h 637"/>
              <a:gd name="T50" fmla="*/ 766 w 1077"/>
              <a:gd name="T51" fmla="*/ 203 h 637"/>
              <a:gd name="T52" fmla="*/ 775 w 1077"/>
              <a:gd name="T53" fmla="*/ 156 h 637"/>
              <a:gd name="T54" fmla="*/ 842 w 1077"/>
              <a:gd name="T55" fmla="*/ 216 h 637"/>
              <a:gd name="T56" fmla="*/ 876 w 1077"/>
              <a:gd name="T57" fmla="*/ 250 h 637"/>
              <a:gd name="T58" fmla="*/ 831 w 1077"/>
              <a:gd name="T59" fmla="*/ 268 h 637"/>
              <a:gd name="T60" fmla="*/ 826 w 1077"/>
              <a:gd name="T61" fmla="*/ 101 h 637"/>
              <a:gd name="T62" fmla="*/ 874 w 1077"/>
              <a:gd name="T63" fmla="*/ 110 h 637"/>
              <a:gd name="T64" fmla="*/ 848 w 1077"/>
              <a:gd name="T65" fmla="*/ 150 h 637"/>
              <a:gd name="T66" fmla="*/ 915 w 1077"/>
              <a:gd name="T67" fmla="*/ 154 h 637"/>
              <a:gd name="T68" fmla="*/ 933 w 1077"/>
              <a:gd name="T69" fmla="*/ 199 h 637"/>
              <a:gd name="T70" fmla="*/ 885 w 1077"/>
              <a:gd name="T71" fmla="*/ 199 h 637"/>
              <a:gd name="T72" fmla="*/ 903 w 1077"/>
              <a:gd name="T73" fmla="*/ 154 h 637"/>
              <a:gd name="T74" fmla="*/ 714 w 1077"/>
              <a:gd name="T75" fmla="*/ 361 h 637"/>
              <a:gd name="T76" fmla="*/ 731 w 1077"/>
              <a:gd name="T77" fmla="*/ 416 h 637"/>
              <a:gd name="T78" fmla="*/ 695 w 1077"/>
              <a:gd name="T79" fmla="*/ 459 h 637"/>
              <a:gd name="T80" fmla="*/ 638 w 1077"/>
              <a:gd name="T81" fmla="*/ 454 h 637"/>
              <a:gd name="T82" fmla="*/ 611 w 1077"/>
              <a:gd name="T83" fmla="*/ 404 h 637"/>
              <a:gd name="T84" fmla="*/ 638 w 1077"/>
              <a:gd name="T85" fmla="*/ 353 h 637"/>
              <a:gd name="T86" fmla="*/ 889 w 1077"/>
              <a:gd name="T87" fmla="*/ 47 h 637"/>
              <a:gd name="T88" fmla="*/ 984 w 1077"/>
              <a:gd name="T89" fmla="*/ 140 h 637"/>
              <a:gd name="T90" fmla="*/ 957 w 1077"/>
              <a:gd name="T91" fmla="*/ 273 h 637"/>
              <a:gd name="T92" fmla="*/ 833 w 1077"/>
              <a:gd name="T93" fmla="*/ 325 h 637"/>
              <a:gd name="T94" fmla="*/ 722 w 1077"/>
              <a:gd name="T95" fmla="*/ 251 h 637"/>
              <a:gd name="T96" fmla="*/ 722 w 1077"/>
              <a:gd name="T97" fmla="*/ 115 h 637"/>
              <a:gd name="T98" fmla="*/ 833 w 1077"/>
              <a:gd name="T99" fmla="*/ 41 h 637"/>
              <a:gd name="T100" fmla="*/ 327 w 1077"/>
              <a:gd name="T101" fmla="*/ 82 h 637"/>
              <a:gd name="T102" fmla="*/ 367 w 1077"/>
              <a:gd name="T103" fmla="*/ 211 h 637"/>
              <a:gd name="T104" fmla="*/ 283 w 1077"/>
              <a:gd name="T105" fmla="*/ 314 h 637"/>
              <a:gd name="T106" fmla="*/ 148 w 1077"/>
              <a:gd name="T107" fmla="*/ 301 h 637"/>
              <a:gd name="T108" fmla="*/ 85 w 1077"/>
              <a:gd name="T109" fmla="*/ 183 h 637"/>
              <a:gd name="T110" fmla="*/ 148 w 1077"/>
              <a:gd name="T111" fmla="*/ 65 h 637"/>
              <a:gd name="T112" fmla="*/ 420 w 1077"/>
              <a:gd name="T113" fmla="*/ 346 h 637"/>
              <a:gd name="T114" fmla="*/ 460 w 1077"/>
              <a:gd name="T115" fmla="*/ 385 h 637"/>
              <a:gd name="T116" fmla="*/ 449 w 1077"/>
              <a:gd name="T117" fmla="*/ 442 h 637"/>
              <a:gd name="T118" fmla="*/ 396 w 1077"/>
              <a:gd name="T119" fmla="*/ 464 h 637"/>
              <a:gd name="T120" fmla="*/ 349 w 1077"/>
              <a:gd name="T121" fmla="*/ 432 h 637"/>
              <a:gd name="T122" fmla="*/ 349 w 1077"/>
              <a:gd name="T123" fmla="*/ 375 h 637"/>
              <a:gd name="T124" fmla="*/ 396 w 1077"/>
              <a:gd name="T125" fmla="*/ 344 h 6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77" h="637">
                <a:moveTo>
                  <a:pt x="221" y="502"/>
                </a:moveTo>
                <a:lnTo>
                  <a:pt x="223" y="513"/>
                </a:lnTo>
                <a:lnTo>
                  <a:pt x="224" y="526"/>
                </a:lnTo>
                <a:lnTo>
                  <a:pt x="223" y="537"/>
                </a:lnTo>
                <a:lnTo>
                  <a:pt x="221" y="548"/>
                </a:lnTo>
                <a:lnTo>
                  <a:pt x="219" y="559"/>
                </a:lnTo>
                <a:lnTo>
                  <a:pt x="215" y="569"/>
                </a:lnTo>
                <a:lnTo>
                  <a:pt x="210" y="579"/>
                </a:lnTo>
                <a:lnTo>
                  <a:pt x="205" y="589"/>
                </a:lnTo>
                <a:lnTo>
                  <a:pt x="197" y="597"/>
                </a:lnTo>
                <a:lnTo>
                  <a:pt x="190" y="605"/>
                </a:lnTo>
                <a:lnTo>
                  <a:pt x="182" y="612"/>
                </a:lnTo>
                <a:lnTo>
                  <a:pt x="174" y="618"/>
                </a:lnTo>
                <a:lnTo>
                  <a:pt x="165" y="624"/>
                </a:lnTo>
                <a:lnTo>
                  <a:pt x="155" y="629"/>
                </a:lnTo>
                <a:lnTo>
                  <a:pt x="145" y="632"/>
                </a:lnTo>
                <a:lnTo>
                  <a:pt x="134" y="635"/>
                </a:lnTo>
                <a:lnTo>
                  <a:pt x="122" y="637"/>
                </a:lnTo>
                <a:lnTo>
                  <a:pt x="111" y="637"/>
                </a:lnTo>
                <a:lnTo>
                  <a:pt x="100" y="637"/>
                </a:lnTo>
                <a:lnTo>
                  <a:pt x="89" y="635"/>
                </a:lnTo>
                <a:lnTo>
                  <a:pt x="78" y="632"/>
                </a:lnTo>
                <a:lnTo>
                  <a:pt x="68" y="629"/>
                </a:lnTo>
                <a:lnTo>
                  <a:pt x="57" y="624"/>
                </a:lnTo>
                <a:lnTo>
                  <a:pt x="48" y="618"/>
                </a:lnTo>
                <a:lnTo>
                  <a:pt x="40" y="612"/>
                </a:lnTo>
                <a:lnTo>
                  <a:pt x="32" y="605"/>
                </a:lnTo>
                <a:lnTo>
                  <a:pt x="25" y="597"/>
                </a:lnTo>
                <a:lnTo>
                  <a:pt x="18" y="589"/>
                </a:lnTo>
                <a:lnTo>
                  <a:pt x="13" y="579"/>
                </a:lnTo>
                <a:lnTo>
                  <a:pt x="8" y="569"/>
                </a:lnTo>
                <a:lnTo>
                  <a:pt x="5" y="559"/>
                </a:lnTo>
                <a:lnTo>
                  <a:pt x="2" y="548"/>
                </a:lnTo>
                <a:lnTo>
                  <a:pt x="0" y="537"/>
                </a:lnTo>
                <a:lnTo>
                  <a:pt x="0" y="526"/>
                </a:lnTo>
                <a:lnTo>
                  <a:pt x="1" y="510"/>
                </a:lnTo>
                <a:lnTo>
                  <a:pt x="3" y="496"/>
                </a:lnTo>
                <a:lnTo>
                  <a:pt x="44" y="176"/>
                </a:lnTo>
                <a:lnTo>
                  <a:pt x="45" y="168"/>
                </a:lnTo>
                <a:lnTo>
                  <a:pt x="46" y="159"/>
                </a:lnTo>
                <a:lnTo>
                  <a:pt x="47" y="150"/>
                </a:lnTo>
                <a:lnTo>
                  <a:pt x="48" y="143"/>
                </a:lnTo>
                <a:lnTo>
                  <a:pt x="50" y="131"/>
                </a:lnTo>
                <a:lnTo>
                  <a:pt x="52" y="131"/>
                </a:lnTo>
                <a:lnTo>
                  <a:pt x="56" y="117"/>
                </a:lnTo>
                <a:lnTo>
                  <a:pt x="63" y="104"/>
                </a:lnTo>
                <a:lnTo>
                  <a:pt x="70" y="90"/>
                </a:lnTo>
                <a:lnTo>
                  <a:pt x="77" y="78"/>
                </a:lnTo>
                <a:lnTo>
                  <a:pt x="86" y="67"/>
                </a:lnTo>
                <a:lnTo>
                  <a:pt x="95" y="56"/>
                </a:lnTo>
                <a:lnTo>
                  <a:pt x="105" y="47"/>
                </a:lnTo>
                <a:lnTo>
                  <a:pt x="116" y="38"/>
                </a:lnTo>
                <a:lnTo>
                  <a:pt x="128" y="28"/>
                </a:lnTo>
                <a:lnTo>
                  <a:pt x="141" y="21"/>
                </a:lnTo>
                <a:lnTo>
                  <a:pt x="154" y="15"/>
                </a:lnTo>
                <a:lnTo>
                  <a:pt x="168" y="10"/>
                </a:lnTo>
                <a:lnTo>
                  <a:pt x="182" y="6"/>
                </a:lnTo>
                <a:lnTo>
                  <a:pt x="196" y="2"/>
                </a:lnTo>
                <a:lnTo>
                  <a:pt x="212" y="1"/>
                </a:lnTo>
                <a:lnTo>
                  <a:pt x="227" y="0"/>
                </a:lnTo>
                <a:lnTo>
                  <a:pt x="242" y="1"/>
                </a:lnTo>
                <a:lnTo>
                  <a:pt x="257" y="2"/>
                </a:lnTo>
                <a:lnTo>
                  <a:pt x="273" y="6"/>
                </a:lnTo>
                <a:lnTo>
                  <a:pt x="287" y="10"/>
                </a:lnTo>
                <a:lnTo>
                  <a:pt x="300" y="15"/>
                </a:lnTo>
                <a:lnTo>
                  <a:pt x="313" y="21"/>
                </a:lnTo>
                <a:lnTo>
                  <a:pt x="325" y="28"/>
                </a:lnTo>
                <a:lnTo>
                  <a:pt x="337" y="38"/>
                </a:lnTo>
                <a:lnTo>
                  <a:pt x="349" y="47"/>
                </a:lnTo>
                <a:lnTo>
                  <a:pt x="359" y="56"/>
                </a:lnTo>
                <a:lnTo>
                  <a:pt x="369" y="67"/>
                </a:lnTo>
                <a:lnTo>
                  <a:pt x="377" y="78"/>
                </a:lnTo>
                <a:lnTo>
                  <a:pt x="385" y="90"/>
                </a:lnTo>
                <a:lnTo>
                  <a:pt x="391" y="104"/>
                </a:lnTo>
                <a:lnTo>
                  <a:pt x="397" y="117"/>
                </a:lnTo>
                <a:lnTo>
                  <a:pt x="402" y="131"/>
                </a:lnTo>
                <a:lnTo>
                  <a:pt x="672" y="131"/>
                </a:lnTo>
                <a:lnTo>
                  <a:pt x="677" y="117"/>
                </a:lnTo>
                <a:lnTo>
                  <a:pt x="682" y="104"/>
                </a:lnTo>
                <a:lnTo>
                  <a:pt x="689" y="90"/>
                </a:lnTo>
                <a:lnTo>
                  <a:pt x="698" y="78"/>
                </a:lnTo>
                <a:lnTo>
                  <a:pt x="706" y="67"/>
                </a:lnTo>
                <a:lnTo>
                  <a:pt x="716" y="56"/>
                </a:lnTo>
                <a:lnTo>
                  <a:pt x="726" y="47"/>
                </a:lnTo>
                <a:lnTo>
                  <a:pt x="737" y="38"/>
                </a:lnTo>
                <a:lnTo>
                  <a:pt x="749" y="28"/>
                </a:lnTo>
                <a:lnTo>
                  <a:pt x="761" y="21"/>
                </a:lnTo>
                <a:lnTo>
                  <a:pt x="775" y="15"/>
                </a:lnTo>
                <a:lnTo>
                  <a:pt x="788" y="10"/>
                </a:lnTo>
                <a:lnTo>
                  <a:pt x="802" y="6"/>
                </a:lnTo>
                <a:lnTo>
                  <a:pt x="817" y="2"/>
                </a:lnTo>
                <a:lnTo>
                  <a:pt x="831" y="1"/>
                </a:lnTo>
                <a:lnTo>
                  <a:pt x="848" y="0"/>
                </a:lnTo>
                <a:lnTo>
                  <a:pt x="863" y="1"/>
                </a:lnTo>
                <a:lnTo>
                  <a:pt x="878" y="2"/>
                </a:lnTo>
                <a:lnTo>
                  <a:pt x="892" y="6"/>
                </a:lnTo>
                <a:lnTo>
                  <a:pt x="907" y="10"/>
                </a:lnTo>
                <a:lnTo>
                  <a:pt x="920" y="15"/>
                </a:lnTo>
                <a:lnTo>
                  <a:pt x="933" y="21"/>
                </a:lnTo>
                <a:lnTo>
                  <a:pt x="946" y="28"/>
                </a:lnTo>
                <a:lnTo>
                  <a:pt x="957" y="38"/>
                </a:lnTo>
                <a:lnTo>
                  <a:pt x="968" y="47"/>
                </a:lnTo>
                <a:lnTo>
                  <a:pt x="980" y="56"/>
                </a:lnTo>
                <a:lnTo>
                  <a:pt x="989" y="67"/>
                </a:lnTo>
                <a:lnTo>
                  <a:pt x="998" y="78"/>
                </a:lnTo>
                <a:lnTo>
                  <a:pt x="1005" y="90"/>
                </a:lnTo>
                <a:lnTo>
                  <a:pt x="1012" y="104"/>
                </a:lnTo>
                <a:lnTo>
                  <a:pt x="1018" y="117"/>
                </a:lnTo>
                <a:lnTo>
                  <a:pt x="1022" y="131"/>
                </a:lnTo>
                <a:lnTo>
                  <a:pt x="1026" y="131"/>
                </a:lnTo>
                <a:lnTo>
                  <a:pt x="1073" y="496"/>
                </a:lnTo>
                <a:lnTo>
                  <a:pt x="1076" y="510"/>
                </a:lnTo>
                <a:lnTo>
                  <a:pt x="1077" y="526"/>
                </a:lnTo>
                <a:lnTo>
                  <a:pt x="1076" y="537"/>
                </a:lnTo>
                <a:lnTo>
                  <a:pt x="1075" y="548"/>
                </a:lnTo>
                <a:lnTo>
                  <a:pt x="1072" y="559"/>
                </a:lnTo>
                <a:lnTo>
                  <a:pt x="1068" y="569"/>
                </a:lnTo>
                <a:lnTo>
                  <a:pt x="1064" y="579"/>
                </a:lnTo>
                <a:lnTo>
                  <a:pt x="1058" y="589"/>
                </a:lnTo>
                <a:lnTo>
                  <a:pt x="1052" y="597"/>
                </a:lnTo>
                <a:lnTo>
                  <a:pt x="1045" y="605"/>
                </a:lnTo>
                <a:lnTo>
                  <a:pt x="1036" y="612"/>
                </a:lnTo>
                <a:lnTo>
                  <a:pt x="1027" y="618"/>
                </a:lnTo>
                <a:lnTo>
                  <a:pt x="1018" y="624"/>
                </a:lnTo>
                <a:lnTo>
                  <a:pt x="1009" y="629"/>
                </a:lnTo>
                <a:lnTo>
                  <a:pt x="998" y="632"/>
                </a:lnTo>
                <a:lnTo>
                  <a:pt x="988" y="635"/>
                </a:lnTo>
                <a:lnTo>
                  <a:pt x="977" y="637"/>
                </a:lnTo>
                <a:lnTo>
                  <a:pt x="965" y="637"/>
                </a:lnTo>
                <a:lnTo>
                  <a:pt x="953" y="637"/>
                </a:lnTo>
                <a:lnTo>
                  <a:pt x="942" y="635"/>
                </a:lnTo>
                <a:lnTo>
                  <a:pt x="932" y="632"/>
                </a:lnTo>
                <a:lnTo>
                  <a:pt x="921" y="629"/>
                </a:lnTo>
                <a:lnTo>
                  <a:pt x="912" y="624"/>
                </a:lnTo>
                <a:lnTo>
                  <a:pt x="903" y="618"/>
                </a:lnTo>
                <a:lnTo>
                  <a:pt x="893" y="612"/>
                </a:lnTo>
                <a:lnTo>
                  <a:pt x="885" y="605"/>
                </a:lnTo>
                <a:lnTo>
                  <a:pt x="878" y="597"/>
                </a:lnTo>
                <a:lnTo>
                  <a:pt x="872" y="589"/>
                </a:lnTo>
                <a:lnTo>
                  <a:pt x="866" y="579"/>
                </a:lnTo>
                <a:lnTo>
                  <a:pt x="862" y="569"/>
                </a:lnTo>
                <a:lnTo>
                  <a:pt x="858" y="559"/>
                </a:lnTo>
                <a:lnTo>
                  <a:pt x="855" y="548"/>
                </a:lnTo>
                <a:lnTo>
                  <a:pt x="854" y="537"/>
                </a:lnTo>
                <a:lnTo>
                  <a:pt x="853" y="526"/>
                </a:lnTo>
                <a:lnTo>
                  <a:pt x="854" y="513"/>
                </a:lnTo>
                <a:lnTo>
                  <a:pt x="855" y="502"/>
                </a:lnTo>
                <a:lnTo>
                  <a:pt x="855" y="502"/>
                </a:lnTo>
                <a:lnTo>
                  <a:pt x="777" y="401"/>
                </a:lnTo>
                <a:lnTo>
                  <a:pt x="750" y="401"/>
                </a:lnTo>
                <a:lnTo>
                  <a:pt x="750" y="403"/>
                </a:lnTo>
                <a:lnTo>
                  <a:pt x="750" y="404"/>
                </a:lnTo>
                <a:lnTo>
                  <a:pt x="749" y="412"/>
                </a:lnTo>
                <a:lnTo>
                  <a:pt x="748" y="420"/>
                </a:lnTo>
                <a:lnTo>
                  <a:pt x="746" y="427"/>
                </a:lnTo>
                <a:lnTo>
                  <a:pt x="744" y="434"/>
                </a:lnTo>
                <a:lnTo>
                  <a:pt x="740" y="441"/>
                </a:lnTo>
                <a:lnTo>
                  <a:pt x="737" y="447"/>
                </a:lnTo>
                <a:lnTo>
                  <a:pt x="732" y="453"/>
                </a:lnTo>
                <a:lnTo>
                  <a:pt x="727" y="459"/>
                </a:lnTo>
                <a:lnTo>
                  <a:pt x="722" y="465"/>
                </a:lnTo>
                <a:lnTo>
                  <a:pt x="716" y="469"/>
                </a:lnTo>
                <a:lnTo>
                  <a:pt x="709" y="473"/>
                </a:lnTo>
                <a:lnTo>
                  <a:pt x="702" y="476"/>
                </a:lnTo>
                <a:lnTo>
                  <a:pt x="695" y="479"/>
                </a:lnTo>
                <a:lnTo>
                  <a:pt x="687" y="481"/>
                </a:lnTo>
                <a:lnTo>
                  <a:pt x="679" y="482"/>
                </a:lnTo>
                <a:lnTo>
                  <a:pt x="671" y="483"/>
                </a:lnTo>
                <a:lnTo>
                  <a:pt x="663" y="482"/>
                </a:lnTo>
                <a:lnTo>
                  <a:pt x="656" y="481"/>
                </a:lnTo>
                <a:lnTo>
                  <a:pt x="648" y="479"/>
                </a:lnTo>
                <a:lnTo>
                  <a:pt x="641" y="476"/>
                </a:lnTo>
                <a:lnTo>
                  <a:pt x="634" y="473"/>
                </a:lnTo>
                <a:lnTo>
                  <a:pt x="628" y="469"/>
                </a:lnTo>
                <a:lnTo>
                  <a:pt x="621" y="465"/>
                </a:lnTo>
                <a:lnTo>
                  <a:pt x="615" y="459"/>
                </a:lnTo>
                <a:lnTo>
                  <a:pt x="610" y="453"/>
                </a:lnTo>
                <a:lnTo>
                  <a:pt x="606" y="447"/>
                </a:lnTo>
                <a:lnTo>
                  <a:pt x="602" y="441"/>
                </a:lnTo>
                <a:lnTo>
                  <a:pt x="599" y="434"/>
                </a:lnTo>
                <a:lnTo>
                  <a:pt x="596" y="427"/>
                </a:lnTo>
                <a:lnTo>
                  <a:pt x="594" y="420"/>
                </a:lnTo>
                <a:lnTo>
                  <a:pt x="593" y="412"/>
                </a:lnTo>
                <a:lnTo>
                  <a:pt x="593" y="404"/>
                </a:lnTo>
                <a:lnTo>
                  <a:pt x="593" y="401"/>
                </a:lnTo>
                <a:lnTo>
                  <a:pt x="593" y="399"/>
                </a:lnTo>
                <a:lnTo>
                  <a:pt x="538" y="398"/>
                </a:lnTo>
                <a:lnTo>
                  <a:pt x="480" y="399"/>
                </a:lnTo>
                <a:lnTo>
                  <a:pt x="480" y="401"/>
                </a:lnTo>
                <a:lnTo>
                  <a:pt x="480" y="404"/>
                </a:lnTo>
                <a:lnTo>
                  <a:pt x="480" y="412"/>
                </a:lnTo>
                <a:lnTo>
                  <a:pt x="479" y="420"/>
                </a:lnTo>
                <a:lnTo>
                  <a:pt x="477" y="427"/>
                </a:lnTo>
                <a:lnTo>
                  <a:pt x="474" y="434"/>
                </a:lnTo>
                <a:lnTo>
                  <a:pt x="471" y="441"/>
                </a:lnTo>
                <a:lnTo>
                  <a:pt x="467" y="447"/>
                </a:lnTo>
                <a:lnTo>
                  <a:pt x="462" y="453"/>
                </a:lnTo>
                <a:lnTo>
                  <a:pt x="457" y="459"/>
                </a:lnTo>
                <a:lnTo>
                  <a:pt x="452" y="465"/>
                </a:lnTo>
                <a:lnTo>
                  <a:pt x="446" y="469"/>
                </a:lnTo>
                <a:lnTo>
                  <a:pt x="440" y="473"/>
                </a:lnTo>
                <a:lnTo>
                  <a:pt x="433" y="476"/>
                </a:lnTo>
                <a:lnTo>
                  <a:pt x="426" y="479"/>
                </a:lnTo>
                <a:lnTo>
                  <a:pt x="418" y="481"/>
                </a:lnTo>
                <a:lnTo>
                  <a:pt x="410" y="482"/>
                </a:lnTo>
                <a:lnTo>
                  <a:pt x="402" y="483"/>
                </a:lnTo>
                <a:lnTo>
                  <a:pt x="394" y="482"/>
                </a:lnTo>
                <a:lnTo>
                  <a:pt x="386" y="481"/>
                </a:lnTo>
                <a:lnTo>
                  <a:pt x="379" y="479"/>
                </a:lnTo>
                <a:lnTo>
                  <a:pt x="371" y="476"/>
                </a:lnTo>
                <a:lnTo>
                  <a:pt x="365" y="473"/>
                </a:lnTo>
                <a:lnTo>
                  <a:pt x="358" y="469"/>
                </a:lnTo>
                <a:lnTo>
                  <a:pt x="352" y="465"/>
                </a:lnTo>
                <a:lnTo>
                  <a:pt x="347" y="459"/>
                </a:lnTo>
                <a:lnTo>
                  <a:pt x="341" y="453"/>
                </a:lnTo>
                <a:lnTo>
                  <a:pt x="336" y="447"/>
                </a:lnTo>
                <a:lnTo>
                  <a:pt x="332" y="441"/>
                </a:lnTo>
                <a:lnTo>
                  <a:pt x="329" y="434"/>
                </a:lnTo>
                <a:lnTo>
                  <a:pt x="327" y="427"/>
                </a:lnTo>
                <a:lnTo>
                  <a:pt x="325" y="420"/>
                </a:lnTo>
                <a:lnTo>
                  <a:pt x="323" y="412"/>
                </a:lnTo>
                <a:lnTo>
                  <a:pt x="323" y="404"/>
                </a:lnTo>
                <a:lnTo>
                  <a:pt x="323" y="403"/>
                </a:lnTo>
                <a:lnTo>
                  <a:pt x="323" y="401"/>
                </a:lnTo>
                <a:lnTo>
                  <a:pt x="300" y="401"/>
                </a:lnTo>
                <a:lnTo>
                  <a:pt x="221" y="502"/>
                </a:lnTo>
                <a:close/>
                <a:moveTo>
                  <a:pt x="207" y="104"/>
                </a:moveTo>
                <a:lnTo>
                  <a:pt x="248" y="104"/>
                </a:lnTo>
                <a:lnTo>
                  <a:pt x="248" y="163"/>
                </a:lnTo>
                <a:lnTo>
                  <a:pt x="306" y="163"/>
                </a:lnTo>
                <a:lnTo>
                  <a:pt x="306" y="204"/>
                </a:lnTo>
                <a:lnTo>
                  <a:pt x="248" y="204"/>
                </a:lnTo>
                <a:lnTo>
                  <a:pt x="248" y="262"/>
                </a:lnTo>
                <a:lnTo>
                  <a:pt x="207" y="262"/>
                </a:lnTo>
                <a:lnTo>
                  <a:pt x="207" y="204"/>
                </a:lnTo>
                <a:lnTo>
                  <a:pt x="149" y="204"/>
                </a:lnTo>
                <a:lnTo>
                  <a:pt x="149" y="163"/>
                </a:lnTo>
                <a:lnTo>
                  <a:pt x="207" y="163"/>
                </a:lnTo>
                <a:lnTo>
                  <a:pt x="207" y="104"/>
                </a:lnTo>
                <a:close/>
                <a:moveTo>
                  <a:pt x="786" y="153"/>
                </a:moveTo>
                <a:lnTo>
                  <a:pt x="792" y="154"/>
                </a:lnTo>
                <a:lnTo>
                  <a:pt x="797" y="156"/>
                </a:lnTo>
                <a:lnTo>
                  <a:pt x="802" y="159"/>
                </a:lnTo>
                <a:lnTo>
                  <a:pt x="806" y="163"/>
                </a:lnTo>
                <a:lnTo>
                  <a:pt x="810" y="167"/>
                </a:lnTo>
                <a:lnTo>
                  <a:pt x="812" y="172"/>
                </a:lnTo>
                <a:lnTo>
                  <a:pt x="814" y="177"/>
                </a:lnTo>
                <a:lnTo>
                  <a:pt x="815" y="183"/>
                </a:lnTo>
                <a:lnTo>
                  <a:pt x="814" y="189"/>
                </a:lnTo>
                <a:lnTo>
                  <a:pt x="812" y="194"/>
                </a:lnTo>
                <a:lnTo>
                  <a:pt x="810" y="199"/>
                </a:lnTo>
                <a:lnTo>
                  <a:pt x="806" y="203"/>
                </a:lnTo>
                <a:lnTo>
                  <a:pt x="802" y="207"/>
                </a:lnTo>
                <a:lnTo>
                  <a:pt x="797" y="209"/>
                </a:lnTo>
                <a:lnTo>
                  <a:pt x="792" y="211"/>
                </a:lnTo>
                <a:lnTo>
                  <a:pt x="786" y="212"/>
                </a:lnTo>
                <a:lnTo>
                  <a:pt x="780" y="211"/>
                </a:lnTo>
                <a:lnTo>
                  <a:pt x="775" y="209"/>
                </a:lnTo>
                <a:lnTo>
                  <a:pt x="770" y="207"/>
                </a:lnTo>
                <a:lnTo>
                  <a:pt x="766" y="203"/>
                </a:lnTo>
                <a:lnTo>
                  <a:pt x="761" y="199"/>
                </a:lnTo>
                <a:lnTo>
                  <a:pt x="759" y="194"/>
                </a:lnTo>
                <a:lnTo>
                  <a:pt x="757" y="189"/>
                </a:lnTo>
                <a:lnTo>
                  <a:pt x="756" y="183"/>
                </a:lnTo>
                <a:lnTo>
                  <a:pt x="757" y="177"/>
                </a:lnTo>
                <a:lnTo>
                  <a:pt x="759" y="172"/>
                </a:lnTo>
                <a:lnTo>
                  <a:pt x="761" y="167"/>
                </a:lnTo>
                <a:lnTo>
                  <a:pt x="766" y="163"/>
                </a:lnTo>
                <a:lnTo>
                  <a:pt x="770" y="159"/>
                </a:lnTo>
                <a:lnTo>
                  <a:pt x="775" y="156"/>
                </a:lnTo>
                <a:lnTo>
                  <a:pt x="780" y="154"/>
                </a:lnTo>
                <a:lnTo>
                  <a:pt x="786" y="153"/>
                </a:lnTo>
                <a:close/>
                <a:moveTo>
                  <a:pt x="818" y="245"/>
                </a:moveTo>
                <a:lnTo>
                  <a:pt x="819" y="239"/>
                </a:lnTo>
                <a:lnTo>
                  <a:pt x="820" y="234"/>
                </a:lnTo>
                <a:lnTo>
                  <a:pt x="823" y="229"/>
                </a:lnTo>
                <a:lnTo>
                  <a:pt x="826" y="224"/>
                </a:lnTo>
                <a:lnTo>
                  <a:pt x="831" y="221"/>
                </a:lnTo>
                <a:lnTo>
                  <a:pt x="837" y="217"/>
                </a:lnTo>
                <a:lnTo>
                  <a:pt x="842" y="216"/>
                </a:lnTo>
                <a:lnTo>
                  <a:pt x="848" y="215"/>
                </a:lnTo>
                <a:lnTo>
                  <a:pt x="853" y="216"/>
                </a:lnTo>
                <a:lnTo>
                  <a:pt x="859" y="217"/>
                </a:lnTo>
                <a:lnTo>
                  <a:pt x="864" y="221"/>
                </a:lnTo>
                <a:lnTo>
                  <a:pt x="868" y="224"/>
                </a:lnTo>
                <a:lnTo>
                  <a:pt x="871" y="229"/>
                </a:lnTo>
                <a:lnTo>
                  <a:pt x="874" y="234"/>
                </a:lnTo>
                <a:lnTo>
                  <a:pt x="876" y="239"/>
                </a:lnTo>
                <a:lnTo>
                  <a:pt x="876" y="245"/>
                </a:lnTo>
                <a:lnTo>
                  <a:pt x="876" y="250"/>
                </a:lnTo>
                <a:lnTo>
                  <a:pt x="874" y="256"/>
                </a:lnTo>
                <a:lnTo>
                  <a:pt x="871" y="261"/>
                </a:lnTo>
                <a:lnTo>
                  <a:pt x="868" y="265"/>
                </a:lnTo>
                <a:lnTo>
                  <a:pt x="864" y="268"/>
                </a:lnTo>
                <a:lnTo>
                  <a:pt x="859" y="271"/>
                </a:lnTo>
                <a:lnTo>
                  <a:pt x="853" y="273"/>
                </a:lnTo>
                <a:lnTo>
                  <a:pt x="848" y="273"/>
                </a:lnTo>
                <a:lnTo>
                  <a:pt x="842" y="273"/>
                </a:lnTo>
                <a:lnTo>
                  <a:pt x="837" y="271"/>
                </a:lnTo>
                <a:lnTo>
                  <a:pt x="831" y="268"/>
                </a:lnTo>
                <a:lnTo>
                  <a:pt x="826" y="265"/>
                </a:lnTo>
                <a:lnTo>
                  <a:pt x="823" y="261"/>
                </a:lnTo>
                <a:lnTo>
                  <a:pt x="820" y="256"/>
                </a:lnTo>
                <a:lnTo>
                  <a:pt x="819" y="250"/>
                </a:lnTo>
                <a:lnTo>
                  <a:pt x="818" y="245"/>
                </a:lnTo>
                <a:close/>
                <a:moveTo>
                  <a:pt x="818" y="121"/>
                </a:moveTo>
                <a:lnTo>
                  <a:pt x="819" y="116"/>
                </a:lnTo>
                <a:lnTo>
                  <a:pt x="820" y="110"/>
                </a:lnTo>
                <a:lnTo>
                  <a:pt x="823" y="105"/>
                </a:lnTo>
                <a:lnTo>
                  <a:pt x="826" y="101"/>
                </a:lnTo>
                <a:lnTo>
                  <a:pt x="831" y="98"/>
                </a:lnTo>
                <a:lnTo>
                  <a:pt x="837" y="94"/>
                </a:lnTo>
                <a:lnTo>
                  <a:pt x="842" y="92"/>
                </a:lnTo>
                <a:lnTo>
                  <a:pt x="848" y="92"/>
                </a:lnTo>
                <a:lnTo>
                  <a:pt x="853" y="92"/>
                </a:lnTo>
                <a:lnTo>
                  <a:pt x="859" y="94"/>
                </a:lnTo>
                <a:lnTo>
                  <a:pt x="864" y="98"/>
                </a:lnTo>
                <a:lnTo>
                  <a:pt x="868" y="101"/>
                </a:lnTo>
                <a:lnTo>
                  <a:pt x="871" y="105"/>
                </a:lnTo>
                <a:lnTo>
                  <a:pt x="874" y="110"/>
                </a:lnTo>
                <a:lnTo>
                  <a:pt x="876" y="116"/>
                </a:lnTo>
                <a:lnTo>
                  <a:pt x="876" y="121"/>
                </a:lnTo>
                <a:lnTo>
                  <a:pt x="876" y="127"/>
                </a:lnTo>
                <a:lnTo>
                  <a:pt x="874" y="133"/>
                </a:lnTo>
                <a:lnTo>
                  <a:pt x="871" y="137"/>
                </a:lnTo>
                <a:lnTo>
                  <a:pt x="868" y="142"/>
                </a:lnTo>
                <a:lnTo>
                  <a:pt x="864" y="145"/>
                </a:lnTo>
                <a:lnTo>
                  <a:pt x="859" y="148"/>
                </a:lnTo>
                <a:lnTo>
                  <a:pt x="853" y="149"/>
                </a:lnTo>
                <a:lnTo>
                  <a:pt x="848" y="150"/>
                </a:lnTo>
                <a:lnTo>
                  <a:pt x="842" y="149"/>
                </a:lnTo>
                <a:lnTo>
                  <a:pt x="837" y="148"/>
                </a:lnTo>
                <a:lnTo>
                  <a:pt x="831" y="145"/>
                </a:lnTo>
                <a:lnTo>
                  <a:pt x="826" y="142"/>
                </a:lnTo>
                <a:lnTo>
                  <a:pt x="823" y="137"/>
                </a:lnTo>
                <a:lnTo>
                  <a:pt x="820" y="133"/>
                </a:lnTo>
                <a:lnTo>
                  <a:pt x="819" y="127"/>
                </a:lnTo>
                <a:lnTo>
                  <a:pt x="818" y="121"/>
                </a:lnTo>
                <a:close/>
                <a:moveTo>
                  <a:pt x="909" y="153"/>
                </a:moveTo>
                <a:lnTo>
                  <a:pt x="915" y="154"/>
                </a:lnTo>
                <a:lnTo>
                  <a:pt x="920" y="156"/>
                </a:lnTo>
                <a:lnTo>
                  <a:pt x="925" y="159"/>
                </a:lnTo>
                <a:lnTo>
                  <a:pt x="929" y="163"/>
                </a:lnTo>
                <a:lnTo>
                  <a:pt x="933" y="167"/>
                </a:lnTo>
                <a:lnTo>
                  <a:pt x="936" y="172"/>
                </a:lnTo>
                <a:lnTo>
                  <a:pt x="937" y="177"/>
                </a:lnTo>
                <a:lnTo>
                  <a:pt x="938" y="183"/>
                </a:lnTo>
                <a:lnTo>
                  <a:pt x="937" y="189"/>
                </a:lnTo>
                <a:lnTo>
                  <a:pt x="936" y="194"/>
                </a:lnTo>
                <a:lnTo>
                  <a:pt x="933" y="199"/>
                </a:lnTo>
                <a:lnTo>
                  <a:pt x="929" y="203"/>
                </a:lnTo>
                <a:lnTo>
                  <a:pt x="925" y="207"/>
                </a:lnTo>
                <a:lnTo>
                  <a:pt x="920" y="209"/>
                </a:lnTo>
                <a:lnTo>
                  <a:pt x="915" y="211"/>
                </a:lnTo>
                <a:lnTo>
                  <a:pt x="909" y="212"/>
                </a:lnTo>
                <a:lnTo>
                  <a:pt x="903" y="211"/>
                </a:lnTo>
                <a:lnTo>
                  <a:pt x="897" y="209"/>
                </a:lnTo>
                <a:lnTo>
                  <a:pt x="892" y="207"/>
                </a:lnTo>
                <a:lnTo>
                  <a:pt x="888" y="203"/>
                </a:lnTo>
                <a:lnTo>
                  <a:pt x="885" y="199"/>
                </a:lnTo>
                <a:lnTo>
                  <a:pt x="882" y="194"/>
                </a:lnTo>
                <a:lnTo>
                  <a:pt x="880" y="189"/>
                </a:lnTo>
                <a:lnTo>
                  <a:pt x="880" y="183"/>
                </a:lnTo>
                <a:lnTo>
                  <a:pt x="880" y="177"/>
                </a:lnTo>
                <a:lnTo>
                  <a:pt x="882" y="172"/>
                </a:lnTo>
                <a:lnTo>
                  <a:pt x="885" y="167"/>
                </a:lnTo>
                <a:lnTo>
                  <a:pt x="888" y="163"/>
                </a:lnTo>
                <a:lnTo>
                  <a:pt x="892" y="159"/>
                </a:lnTo>
                <a:lnTo>
                  <a:pt x="897" y="156"/>
                </a:lnTo>
                <a:lnTo>
                  <a:pt x="903" y="154"/>
                </a:lnTo>
                <a:lnTo>
                  <a:pt x="909" y="153"/>
                </a:lnTo>
                <a:close/>
                <a:moveTo>
                  <a:pt x="671" y="343"/>
                </a:moveTo>
                <a:lnTo>
                  <a:pt x="677" y="344"/>
                </a:lnTo>
                <a:lnTo>
                  <a:pt x="683" y="345"/>
                </a:lnTo>
                <a:lnTo>
                  <a:pt x="689" y="346"/>
                </a:lnTo>
                <a:lnTo>
                  <a:pt x="695" y="348"/>
                </a:lnTo>
                <a:lnTo>
                  <a:pt x="701" y="350"/>
                </a:lnTo>
                <a:lnTo>
                  <a:pt x="706" y="353"/>
                </a:lnTo>
                <a:lnTo>
                  <a:pt x="710" y="357"/>
                </a:lnTo>
                <a:lnTo>
                  <a:pt x="714" y="361"/>
                </a:lnTo>
                <a:lnTo>
                  <a:pt x="718" y="365"/>
                </a:lnTo>
                <a:lnTo>
                  <a:pt x="722" y="370"/>
                </a:lnTo>
                <a:lnTo>
                  <a:pt x="725" y="375"/>
                </a:lnTo>
                <a:lnTo>
                  <a:pt x="727" y="380"/>
                </a:lnTo>
                <a:lnTo>
                  <a:pt x="729" y="385"/>
                </a:lnTo>
                <a:lnTo>
                  <a:pt x="731" y="391"/>
                </a:lnTo>
                <a:lnTo>
                  <a:pt x="732" y="397"/>
                </a:lnTo>
                <a:lnTo>
                  <a:pt x="732" y="404"/>
                </a:lnTo>
                <a:lnTo>
                  <a:pt x="732" y="410"/>
                </a:lnTo>
                <a:lnTo>
                  <a:pt x="731" y="416"/>
                </a:lnTo>
                <a:lnTo>
                  <a:pt x="729" y="422"/>
                </a:lnTo>
                <a:lnTo>
                  <a:pt x="727" y="427"/>
                </a:lnTo>
                <a:lnTo>
                  <a:pt x="725" y="432"/>
                </a:lnTo>
                <a:lnTo>
                  <a:pt x="722" y="437"/>
                </a:lnTo>
                <a:lnTo>
                  <a:pt x="718" y="442"/>
                </a:lnTo>
                <a:lnTo>
                  <a:pt x="714" y="446"/>
                </a:lnTo>
                <a:lnTo>
                  <a:pt x="710" y="450"/>
                </a:lnTo>
                <a:lnTo>
                  <a:pt x="706" y="454"/>
                </a:lnTo>
                <a:lnTo>
                  <a:pt x="701" y="456"/>
                </a:lnTo>
                <a:lnTo>
                  <a:pt x="695" y="459"/>
                </a:lnTo>
                <a:lnTo>
                  <a:pt x="689" y="461"/>
                </a:lnTo>
                <a:lnTo>
                  <a:pt x="683" y="462"/>
                </a:lnTo>
                <a:lnTo>
                  <a:pt x="677" y="464"/>
                </a:lnTo>
                <a:lnTo>
                  <a:pt x="671" y="465"/>
                </a:lnTo>
                <a:lnTo>
                  <a:pt x="665" y="464"/>
                </a:lnTo>
                <a:lnTo>
                  <a:pt x="659" y="462"/>
                </a:lnTo>
                <a:lnTo>
                  <a:pt x="653" y="461"/>
                </a:lnTo>
                <a:lnTo>
                  <a:pt x="648" y="459"/>
                </a:lnTo>
                <a:lnTo>
                  <a:pt x="643" y="456"/>
                </a:lnTo>
                <a:lnTo>
                  <a:pt x="638" y="454"/>
                </a:lnTo>
                <a:lnTo>
                  <a:pt x="633" y="450"/>
                </a:lnTo>
                <a:lnTo>
                  <a:pt x="629" y="446"/>
                </a:lnTo>
                <a:lnTo>
                  <a:pt x="625" y="442"/>
                </a:lnTo>
                <a:lnTo>
                  <a:pt x="621" y="437"/>
                </a:lnTo>
                <a:lnTo>
                  <a:pt x="618" y="432"/>
                </a:lnTo>
                <a:lnTo>
                  <a:pt x="615" y="427"/>
                </a:lnTo>
                <a:lnTo>
                  <a:pt x="613" y="422"/>
                </a:lnTo>
                <a:lnTo>
                  <a:pt x="612" y="416"/>
                </a:lnTo>
                <a:lnTo>
                  <a:pt x="611" y="410"/>
                </a:lnTo>
                <a:lnTo>
                  <a:pt x="611" y="404"/>
                </a:lnTo>
                <a:lnTo>
                  <a:pt x="611" y="397"/>
                </a:lnTo>
                <a:lnTo>
                  <a:pt x="612" y="391"/>
                </a:lnTo>
                <a:lnTo>
                  <a:pt x="613" y="385"/>
                </a:lnTo>
                <a:lnTo>
                  <a:pt x="615" y="380"/>
                </a:lnTo>
                <a:lnTo>
                  <a:pt x="618" y="375"/>
                </a:lnTo>
                <a:lnTo>
                  <a:pt x="621" y="370"/>
                </a:lnTo>
                <a:lnTo>
                  <a:pt x="625" y="365"/>
                </a:lnTo>
                <a:lnTo>
                  <a:pt x="629" y="361"/>
                </a:lnTo>
                <a:lnTo>
                  <a:pt x="633" y="357"/>
                </a:lnTo>
                <a:lnTo>
                  <a:pt x="638" y="353"/>
                </a:lnTo>
                <a:lnTo>
                  <a:pt x="643" y="350"/>
                </a:lnTo>
                <a:lnTo>
                  <a:pt x="648" y="348"/>
                </a:lnTo>
                <a:lnTo>
                  <a:pt x="653" y="346"/>
                </a:lnTo>
                <a:lnTo>
                  <a:pt x="659" y="345"/>
                </a:lnTo>
                <a:lnTo>
                  <a:pt x="665" y="344"/>
                </a:lnTo>
                <a:lnTo>
                  <a:pt x="671" y="343"/>
                </a:lnTo>
                <a:close/>
                <a:moveTo>
                  <a:pt x="848" y="41"/>
                </a:moveTo>
                <a:lnTo>
                  <a:pt x="862" y="41"/>
                </a:lnTo>
                <a:lnTo>
                  <a:pt x="876" y="44"/>
                </a:lnTo>
                <a:lnTo>
                  <a:pt x="889" y="47"/>
                </a:lnTo>
                <a:lnTo>
                  <a:pt x="903" y="52"/>
                </a:lnTo>
                <a:lnTo>
                  <a:pt x="916" y="58"/>
                </a:lnTo>
                <a:lnTo>
                  <a:pt x="927" y="65"/>
                </a:lnTo>
                <a:lnTo>
                  <a:pt x="938" y="73"/>
                </a:lnTo>
                <a:lnTo>
                  <a:pt x="948" y="82"/>
                </a:lnTo>
                <a:lnTo>
                  <a:pt x="957" y="92"/>
                </a:lnTo>
                <a:lnTo>
                  <a:pt x="965" y="104"/>
                </a:lnTo>
                <a:lnTo>
                  <a:pt x="973" y="115"/>
                </a:lnTo>
                <a:lnTo>
                  <a:pt x="979" y="127"/>
                </a:lnTo>
                <a:lnTo>
                  <a:pt x="984" y="140"/>
                </a:lnTo>
                <a:lnTo>
                  <a:pt x="987" y="154"/>
                </a:lnTo>
                <a:lnTo>
                  <a:pt x="989" y="169"/>
                </a:lnTo>
                <a:lnTo>
                  <a:pt x="990" y="183"/>
                </a:lnTo>
                <a:lnTo>
                  <a:pt x="989" y="197"/>
                </a:lnTo>
                <a:lnTo>
                  <a:pt x="987" y="211"/>
                </a:lnTo>
                <a:lnTo>
                  <a:pt x="984" y="226"/>
                </a:lnTo>
                <a:lnTo>
                  <a:pt x="979" y="239"/>
                </a:lnTo>
                <a:lnTo>
                  <a:pt x="973" y="251"/>
                </a:lnTo>
                <a:lnTo>
                  <a:pt x="965" y="262"/>
                </a:lnTo>
                <a:lnTo>
                  <a:pt x="957" y="273"/>
                </a:lnTo>
                <a:lnTo>
                  <a:pt x="948" y="284"/>
                </a:lnTo>
                <a:lnTo>
                  <a:pt x="938" y="293"/>
                </a:lnTo>
                <a:lnTo>
                  <a:pt x="927" y="301"/>
                </a:lnTo>
                <a:lnTo>
                  <a:pt x="916" y="308"/>
                </a:lnTo>
                <a:lnTo>
                  <a:pt x="903" y="314"/>
                </a:lnTo>
                <a:lnTo>
                  <a:pt x="889" y="319"/>
                </a:lnTo>
                <a:lnTo>
                  <a:pt x="876" y="323"/>
                </a:lnTo>
                <a:lnTo>
                  <a:pt x="862" y="325"/>
                </a:lnTo>
                <a:lnTo>
                  <a:pt x="848" y="325"/>
                </a:lnTo>
                <a:lnTo>
                  <a:pt x="833" y="325"/>
                </a:lnTo>
                <a:lnTo>
                  <a:pt x="818" y="323"/>
                </a:lnTo>
                <a:lnTo>
                  <a:pt x="805" y="319"/>
                </a:lnTo>
                <a:lnTo>
                  <a:pt x="792" y="314"/>
                </a:lnTo>
                <a:lnTo>
                  <a:pt x="780" y="308"/>
                </a:lnTo>
                <a:lnTo>
                  <a:pt x="768" y="301"/>
                </a:lnTo>
                <a:lnTo>
                  <a:pt x="756" y="293"/>
                </a:lnTo>
                <a:lnTo>
                  <a:pt x="746" y="284"/>
                </a:lnTo>
                <a:lnTo>
                  <a:pt x="737" y="273"/>
                </a:lnTo>
                <a:lnTo>
                  <a:pt x="729" y="262"/>
                </a:lnTo>
                <a:lnTo>
                  <a:pt x="722" y="251"/>
                </a:lnTo>
                <a:lnTo>
                  <a:pt x="716" y="239"/>
                </a:lnTo>
                <a:lnTo>
                  <a:pt x="712" y="226"/>
                </a:lnTo>
                <a:lnTo>
                  <a:pt x="708" y="211"/>
                </a:lnTo>
                <a:lnTo>
                  <a:pt x="706" y="197"/>
                </a:lnTo>
                <a:lnTo>
                  <a:pt x="705" y="183"/>
                </a:lnTo>
                <a:lnTo>
                  <a:pt x="706" y="169"/>
                </a:lnTo>
                <a:lnTo>
                  <a:pt x="708" y="154"/>
                </a:lnTo>
                <a:lnTo>
                  <a:pt x="712" y="140"/>
                </a:lnTo>
                <a:lnTo>
                  <a:pt x="716" y="127"/>
                </a:lnTo>
                <a:lnTo>
                  <a:pt x="722" y="115"/>
                </a:lnTo>
                <a:lnTo>
                  <a:pt x="729" y="104"/>
                </a:lnTo>
                <a:lnTo>
                  <a:pt x="737" y="92"/>
                </a:lnTo>
                <a:lnTo>
                  <a:pt x="746" y="82"/>
                </a:lnTo>
                <a:lnTo>
                  <a:pt x="756" y="73"/>
                </a:lnTo>
                <a:lnTo>
                  <a:pt x="768" y="65"/>
                </a:lnTo>
                <a:lnTo>
                  <a:pt x="780" y="58"/>
                </a:lnTo>
                <a:lnTo>
                  <a:pt x="792" y="52"/>
                </a:lnTo>
                <a:lnTo>
                  <a:pt x="805" y="47"/>
                </a:lnTo>
                <a:lnTo>
                  <a:pt x="818" y="44"/>
                </a:lnTo>
                <a:lnTo>
                  <a:pt x="833" y="41"/>
                </a:lnTo>
                <a:lnTo>
                  <a:pt x="848" y="41"/>
                </a:lnTo>
                <a:close/>
                <a:moveTo>
                  <a:pt x="227" y="41"/>
                </a:moveTo>
                <a:lnTo>
                  <a:pt x="242" y="41"/>
                </a:lnTo>
                <a:lnTo>
                  <a:pt x="255" y="44"/>
                </a:lnTo>
                <a:lnTo>
                  <a:pt x="269" y="47"/>
                </a:lnTo>
                <a:lnTo>
                  <a:pt x="283" y="52"/>
                </a:lnTo>
                <a:lnTo>
                  <a:pt x="295" y="58"/>
                </a:lnTo>
                <a:lnTo>
                  <a:pt x="307" y="65"/>
                </a:lnTo>
                <a:lnTo>
                  <a:pt x="317" y="73"/>
                </a:lnTo>
                <a:lnTo>
                  <a:pt x="327" y="82"/>
                </a:lnTo>
                <a:lnTo>
                  <a:pt x="337" y="92"/>
                </a:lnTo>
                <a:lnTo>
                  <a:pt x="346" y="104"/>
                </a:lnTo>
                <a:lnTo>
                  <a:pt x="353" y="115"/>
                </a:lnTo>
                <a:lnTo>
                  <a:pt x="359" y="127"/>
                </a:lnTo>
                <a:lnTo>
                  <a:pt x="363" y="140"/>
                </a:lnTo>
                <a:lnTo>
                  <a:pt x="367" y="154"/>
                </a:lnTo>
                <a:lnTo>
                  <a:pt x="369" y="169"/>
                </a:lnTo>
                <a:lnTo>
                  <a:pt x="370" y="183"/>
                </a:lnTo>
                <a:lnTo>
                  <a:pt x="369" y="197"/>
                </a:lnTo>
                <a:lnTo>
                  <a:pt x="367" y="211"/>
                </a:lnTo>
                <a:lnTo>
                  <a:pt x="363" y="226"/>
                </a:lnTo>
                <a:lnTo>
                  <a:pt x="359" y="239"/>
                </a:lnTo>
                <a:lnTo>
                  <a:pt x="353" y="251"/>
                </a:lnTo>
                <a:lnTo>
                  <a:pt x="346" y="262"/>
                </a:lnTo>
                <a:lnTo>
                  <a:pt x="337" y="273"/>
                </a:lnTo>
                <a:lnTo>
                  <a:pt x="327" y="284"/>
                </a:lnTo>
                <a:lnTo>
                  <a:pt x="317" y="293"/>
                </a:lnTo>
                <a:lnTo>
                  <a:pt x="307" y="301"/>
                </a:lnTo>
                <a:lnTo>
                  <a:pt x="295" y="308"/>
                </a:lnTo>
                <a:lnTo>
                  <a:pt x="283" y="314"/>
                </a:lnTo>
                <a:lnTo>
                  <a:pt x="269" y="319"/>
                </a:lnTo>
                <a:lnTo>
                  <a:pt x="255" y="323"/>
                </a:lnTo>
                <a:lnTo>
                  <a:pt x="242" y="325"/>
                </a:lnTo>
                <a:lnTo>
                  <a:pt x="227" y="325"/>
                </a:lnTo>
                <a:lnTo>
                  <a:pt x="213" y="325"/>
                </a:lnTo>
                <a:lnTo>
                  <a:pt x="198" y="323"/>
                </a:lnTo>
                <a:lnTo>
                  <a:pt x="184" y="319"/>
                </a:lnTo>
                <a:lnTo>
                  <a:pt x="172" y="314"/>
                </a:lnTo>
                <a:lnTo>
                  <a:pt x="159" y="308"/>
                </a:lnTo>
                <a:lnTo>
                  <a:pt x="148" y="301"/>
                </a:lnTo>
                <a:lnTo>
                  <a:pt x="137" y="293"/>
                </a:lnTo>
                <a:lnTo>
                  <a:pt x="126" y="284"/>
                </a:lnTo>
                <a:lnTo>
                  <a:pt x="117" y="273"/>
                </a:lnTo>
                <a:lnTo>
                  <a:pt x="109" y="262"/>
                </a:lnTo>
                <a:lnTo>
                  <a:pt x="102" y="251"/>
                </a:lnTo>
                <a:lnTo>
                  <a:pt x="96" y="239"/>
                </a:lnTo>
                <a:lnTo>
                  <a:pt x="91" y="226"/>
                </a:lnTo>
                <a:lnTo>
                  <a:pt x="88" y="211"/>
                </a:lnTo>
                <a:lnTo>
                  <a:pt x="86" y="197"/>
                </a:lnTo>
                <a:lnTo>
                  <a:pt x="85" y="183"/>
                </a:lnTo>
                <a:lnTo>
                  <a:pt x="86" y="169"/>
                </a:lnTo>
                <a:lnTo>
                  <a:pt x="88" y="154"/>
                </a:lnTo>
                <a:lnTo>
                  <a:pt x="91" y="140"/>
                </a:lnTo>
                <a:lnTo>
                  <a:pt x="96" y="127"/>
                </a:lnTo>
                <a:lnTo>
                  <a:pt x="102" y="115"/>
                </a:lnTo>
                <a:lnTo>
                  <a:pt x="109" y="104"/>
                </a:lnTo>
                <a:lnTo>
                  <a:pt x="117" y="92"/>
                </a:lnTo>
                <a:lnTo>
                  <a:pt x="126" y="82"/>
                </a:lnTo>
                <a:lnTo>
                  <a:pt x="137" y="73"/>
                </a:lnTo>
                <a:lnTo>
                  <a:pt x="148" y="65"/>
                </a:lnTo>
                <a:lnTo>
                  <a:pt x="159" y="58"/>
                </a:lnTo>
                <a:lnTo>
                  <a:pt x="172" y="52"/>
                </a:lnTo>
                <a:lnTo>
                  <a:pt x="184" y="47"/>
                </a:lnTo>
                <a:lnTo>
                  <a:pt x="198" y="44"/>
                </a:lnTo>
                <a:lnTo>
                  <a:pt x="213" y="41"/>
                </a:lnTo>
                <a:lnTo>
                  <a:pt x="227" y="41"/>
                </a:lnTo>
                <a:close/>
                <a:moveTo>
                  <a:pt x="402" y="343"/>
                </a:moveTo>
                <a:lnTo>
                  <a:pt x="408" y="344"/>
                </a:lnTo>
                <a:lnTo>
                  <a:pt x="415" y="345"/>
                </a:lnTo>
                <a:lnTo>
                  <a:pt x="420" y="346"/>
                </a:lnTo>
                <a:lnTo>
                  <a:pt x="426" y="348"/>
                </a:lnTo>
                <a:lnTo>
                  <a:pt x="431" y="350"/>
                </a:lnTo>
                <a:lnTo>
                  <a:pt x="436" y="353"/>
                </a:lnTo>
                <a:lnTo>
                  <a:pt x="441" y="357"/>
                </a:lnTo>
                <a:lnTo>
                  <a:pt x="445" y="361"/>
                </a:lnTo>
                <a:lnTo>
                  <a:pt x="449" y="365"/>
                </a:lnTo>
                <a:lnTo>
                  <a:pt x="452" y="370"/>
                </a:lnTo>
                <a:lnTo>
                  <a:pt x="455" y="375"/>
                </a:lnTo>
                <a:lnTo>
                  <a:pt x="458" y="380"/>
                </a:lnTo>
                <a:lnTo>
                  <a:pt x="460" y="385"/>
                </a:lnTo>
                <a:lnTo>
                  <a:pt x="461" y="391"/>
                </a:lnTo>
                <a:lnTo>
                  <a:pt x="462" y="397"/>
                </a:lnTo>
                <a:lnTo>
                  <a:pt x="462" y="404"/>
                </a:lnTo>
                <a:lnTo>
                  <a:pt x="462" y="410"/>
                </a:lnTo>
                <a:lnTo>
                  <a:pt x="461" y="416"/>
                </a:lnTo>
                <a:lnTo>
                  <a:pt x="460" y="422"/>
                </a:lnTo>
                <a:lnTo>
                  <a:pt x="458" y="427"/>
                </a:lnTo>
                <a:lnTo>
                  <a:pt x="455" y="432"/>
                </a:lnTo>
                <a:lnTo>
                  <a:pt x="452" y="437"/>
                </a:lnTo>
                <a:lnTo>
                  <a:pt x="449" y="442"/>
                </a:lnTo>
                <a:lnTo>
                  <a:pt x="445" y="446"/>
                </a:lnTo>
                <a:lnTo>
                  <a:pt x="441" y="450"/>
                </a:lnTo>
                <a:lnTo>
                  <a:pt x="436" y="454"/>
                </a:lnTo>
                <a:lnTo>
                  <a:pt x="431" y="456"/>
                </a:lnTo>
                <a:lnTo>
                  <a:pt x="426" y="459"/>
                </a:lnTo>
                <a:lnTo>
                  <a:pt x="420" y="461"/>
                </a:lnTo>
                <a:lnTo>
                  <a:pt x="415" y="462"/>
                </a:lnTo>
                <a:lnTo>
                  <a:pt x="408" y="464"/>
                </a:lnTo>
                <a:lnTo>
                  <a:pt x="402" y="465"/>
                </a:lnTo>
                <a:lnTo>
                  <a:pt x="396" y="464"/>
                </a:lnTo>
                <a:lnTo>
                  <a:pt x="390" y="462"/>
                </a:lnTo>
                <a:lnTo>
                  <a:pt x="384" y="461"/>
                </a:lnTo>
                <a:lnTo>
                  <a:pt x="378" y="459"/>
                </a:lnTo>
                <a:lnTo>
                  <a:pt x="373" y="456"/>
                </a:lnTo>
                <a:lnTo>
                  <a:pt x="368" y="454"/>
                </a:lnTo>
                <a:lnTo>
                  <a:pt x="364" y="450"/>
                </a:lnTo>
                <a:lnTo>
                  <a:pt x="359" y="446"/>
                </a:lnTo>
                <a:lnTo>
                  <a:pt x="356" y="442"/>
                </a:lnTo>
                <a:lnTo>
                  <a:pt x="352" y="437"/>
                </a:lnTo>
                <a:lnTo>
                  <a:pt x="349" y="432"/>
                </a:lnTo>
                <a:lnTo>
                  <a:pt x="347" y="427"/>
                </a:lnTo>
                <a:lnTo>
                  <a:pt x="345" y="422"/>
                </a:lnTo>
                <a:lnTo>
                  <a:pt x="343" y="416"/>
                </a:lnTo>
                <a:lnTo>
                  <a:pt x="341" y="410"/>
                </a:lnTo>
                <a:lnTo>
                  <a:pt x="341" y="404"/>
                </a:lnTo>
                <a:lnTo>
                  <a:pt x="341" y="397"/>
                </a:lnTo>
                <a:lnTo>
                  <a:pt x="343" y="391"/>
                </a:lnTo>
                <a:lnTo>
                  <a:pt x="345" y="385"/>
                </a:lnTo>
                <a:lnTo>
                  <a:pt x="347" y="380"/>
                </a:lnTo>
                <a:lnTo>
                  <a:pt x="349" y="375"/>
                </a:lnTo>
                <a:lnTo>
                  <a:pt x="352" y="370"/>
                </a:lnTo>
                <a:lnTo>
                  <a:pt x="356" y="365"/>
                </a:lnTo>
                <a:lnTo>
                  <a:pt x="359" y="361"/>
                </a:lnTo>
                <a:lnTo>
                  <a:pt x="364" y="357"/>
                </a:lnTo>
                <a:lnTo>
                  <a:pt x="368" y="353"/>
                </a:lnTo>
                <a:lnTo>
                  <a:pt x="373" y="350"/>
                </a:lnTo>
                <a:lnTo>
                  <a:pt x="378" y="348"/>
                </a:lnTo>
                <a:lnTo>
                  <a:pt x="384" y="346"/>
                </a:lnTo>
                <a:lnTo>
                  <a:pt x="390" y="345"/>
                </a:lnTo>
                <a:lnTo>
                  <a:pt x="396" y="344"/>
                </a:lnTo>
                <a:lnTo>
                  <a:pt x="402" y="34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28"/>
          <p:cNvSpPr>
            <a:spLocks/>
          </p:cNvSpPr>
          <p:nvPr/>
        </p:nvSpPr>
        <p:spPr bwMode="auto">
          <a:xfrm>
            <a:off x="4523567" y="4438184"/>
            <a:ext cx="619178" cy="542493"/>
          </a:xfrm>
          <a:custGeom>
            <a:avLst/>
            <a:gdLst>
              <a:gd name="T0" fmla="*/ 0 w 248"/>
              <a:gd name="T1" fmla="*/ 0 h 403"/>
              <a:gd name="T2" fmla="*/ 224 w 248"/>
              <a:gd name="T3" fmla="*/ 203 h 403"/>
              <a:gd name="T4" fmla="*/ 166 w 248"/>
              <a:gd name="T5" fmla="*/ 236 h 403"/>
              <a:gd name="T6" fmla="*/ 248 w 248"/>
              <a:gd name="T7" fmla="*/ 377 h 403"/>
              <a:gd name="T8" fmla="*/ 202 w 248"/>
              <a:gd name="T9" fmla="*/ 403 h 403"/>
              <a:gd name="T10" fmla="*/ 121 w 248"/>
              <a:gd name="T11" fmla="*/ 263 h 403"/>
              <a:gd name="T12" fmla="*/ 64 w 248"/>
              <a:gd name="T13" fmla="*/ 296 h 403"/>
              <a:gd name="T14" fmla="*/ 0 w 248"/>
              <a:gd name="T15" fmla="*/ 0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8" h="403">
                <a:moveTo>
                  <a:pt x="0" y="0"/>
                </a:moveTo>
                <a:lnTo>
                  <a:pt x="224" y="203"/>
                </a:lnTo>
                <a:lnTo>
                  <a:pt x="166" y="236"/>
                </a:lnTo>
                <a:lnTo>
                  <a:pt x="248" y="377"/>
                </a:lnTo>
                <a:lnTo>
                  <a:pt x="202" y="403"/>
                </a:lnTo>
                <a:lnTo>
                  <a:pt x="121" y="263"/>
                </a:lnTo>
                <a:lnTo>
                  <a:pt x="64" y="29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3" name="Line 34"/>
          <p:cNvSpPr>
            <a:spLocks noChangeShapeType="1"/>
          </p:cNvSpPr>
          <p:nvPr/>
        </p:nvSpPr>
        <p:spPr bwMode="auto">
          <a:xfrm flipH="1" flipV="1">
            <a:off x="4569482" y="4873130"/>
            <a:ext cx="43904" cy="7187"/>
          </a:xfrm>
          <a:prstGeom prst="line">
            <a:avLst/>
          </a:prstGeom>
          <a:noFill/>
          <a:ln w="4">
            <a:solidFill>
              <a:srgbClr val="3BB3C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4" name="Freeform 35"/>
          <p:cNvSpPr>
            <a:spLocks noEditPoints="1"/>
          </p:cNvSpPr>
          <p:nvPr/>
        </p:nvSpPr>
        <p:spPr bwMode="auto">
          <a:xfrm>
            <a:off x="3552470" y="4272984"/>
            <a:ext cx="858164" cy="696066"/>
          </a:xfrm>
          <a:custGeom>
            <a:avLst/>
            <a:gdLst>
              <a:gd name="T0" fmla="*/ 449 w 751"/>
              <a:gd name="T1" fmla="*/ 7 h 753"/>
              <a:gd name="T2" fmla="*/ 533 w 751"/>
              <a:gd name="T3" fmla="*/ 35 h 753"/>
              <a:gd name="T4" fmla="*/ 607 w 751"/>
              <a:gd name="T5" fmla="*/ 80 h 753"/>
              <a:gd name="T6" fmla="*/ 669 w 751"/>
              <a:gd name="T7" fmla="*/ 141 h 753"/>
              <a:gd name="T8" fmla="*/ 716 w 751"/>
              <a:gd name="T9" fmla="*/ 216 h 753"/>
              <a:gd name="T10" fmla="*/ 744 w 751"/>
              <a:gd name="T11" fmla="*/ 300 h 753"/>
              <a:gd name="T12" fmla="*/ 619 w 751"/>
              <a:gd name="T13" fmla="*/ 363 h 753"/>
              <a:gd name="T14" fmla="*/ 608 w 751"/>
              <a:gd name="T15" fmla="*/ 305 h 753"/>
              <a:gd name="T16" fmla="*/ 585 w 751"/>
              <a:gd name="T17" fmla="*/ 253 h 753"/>
              <a:gd name="T18" fmla="*/ 551 w 751"/>
              <a:gd name="T19" fmla="*/ 207 h 753"/>
              <a:gd name="T20" fmla="*/ 508 w 751"/>
              <a:gd name="T21" fmla="*/ 172 h 753"/>
              <a:gd name="T22" fmla="*/ 456 w 751"/>
              <a:gd name="T23" fmla="*/ 147 h 753"/>
              <a:gd name="T24" fmla="*/ 399 w 751"/>
              <a:gd name="T25" fmla="*/ 134 h 753"/>
              <a:gd name="T26" fmla="*/ 341 w 751"/>
              <a:gd name="T27" fmla="*/ 135 h 753"/>
              <a:gd name="T28" fmla="*/ 285 w 751"/>
              <a:gd name="T29" fmla="*/ 150 h 753"/>
              <a:gd name="T30" fmla="*/ 236 w 751"/>
              <a:gd name="T31" fmla="*/ 177 h 753"/>
              <a:gd name="T32" fmla="*/ 180 w 751"/>
              <a:gd name="T33" fmla="*/ 232 h 753"/>
              <a:gd name="T34" fmla="*/ 152 w 751"/>
              <a:gd name="T35" fmla="*/ 281 h 753"/>
              <a:gd name="T36" fmla="*/ 136 w 751"/>
              <a:gd name="T37" fmla="*/ 335 h 753"/>
              <a:gd name="T38" fmla="*/ 0 w 751"/>
              <a:gd name="T39" fmla="*/ 377 h 753"/>
              <a:gd name="T40" fmla="*/ 11 w 751"/>
              <a:gd name="T41" fmla="*/ 283 h 753"/>
              <a:gd name="T42" fmla="*/ 45 w 751"/>
              <a:gd name="T43" fmla="*/ 197 h 753"/>
              <a:gd name="T44" fmla="*/ 97 w 751"/>
              <a:gd name="T45" fmla="*/ 123 h 753"/>
              <a:gd name="T46" fmla="*/ 165 w 751"/>
              <a:gd name="T47" fmla="*/ 64 h 753"/>
              <a:gd name="T48" fmla="*/ 246 w 751"/>
              <a:gd name="T49" fmla="*/ 22 h 753"/>
              <a:gd name="T50" fmla="*/ 338 w 751"/>
              <a:gd name="T51" fmla="*/ 2 h 753"/>
              <a:gd name="T52" fmla="*/ 749 w 751"/>
              <a:gd name="T53" fmla="*/ 423 h 753"/>
              <a:gd name="T54" fmla="*/ 727 w 751"/>
              <a:gd name="T55" fmla="*/ 512 h 753"/>
              <a:gd name="T56" fmla="*/ 685 w 751"/>
              <a:gd name="T57" fmla="*/ 592 h 753"/>
              <a:gd name="T58" fmla="*/ 626 w 751"/>
              <a:gd name="T59" fmla="*/ 658 h 753"/>
              <a:gd name="T60" fmla="*/ 553 w 751"/>
              <a:gd name="T61" fmla="*/ 710 h 753"/>
              <a:gd name="T62" fmla="*/ 468 w 751"/>
              <a:gd name="T63" fmla="*/ 742 h 753"/>
              <a:gd name="T64" fmla="*/ 376 w 751"/>
              <a:gd name="T65" fmla="*/ 753 h 753"/>
              <a:gd name="T66" fmla="*/ 286 w 751"/>
              <a:gd name="T67" fmla="*/ 743 h 753"/>
              <a:gd name="T68" fmla="*/ 205 w 751"/>
              <a:gd name="T69" fmla="*/ 713 h 753"/>
              <a:gd name="T70" fmla="*/ 134 w 751"/>
              <a:gd name="T71" fmla="*/ 665 h 753"/>
              <a:gd name="T72" fmla="*/ 75 w 751"/>
              <a:gd name="T73" fmla="*/ 603 h 753"/>
              <a:gd name="T74" fmla="*/ 31 w 751"/>
              <a:gd name="T75" fmla="*/ 529 h 753"/>
              <a:gd name="T76" fmla="*/ 6 w 751"/>
              <a:gd name="T77" fmla="*/ 444 h 753"/>
              <a:gd name="T78" fmla="*/ 134 w 751"/>
              <a:gd name="T79" fmla="*/ 396 h 753"/>
              <a:gd name="T80" fmla="*/ 145 w 751"/>
              <a:gd name="T81" fmla="*/ 455 h 753"/>
              <a:gd name="T82" fmla="*/ 170 w 751"/>
              <a:gd name="T83" fmla="*/ 507 h 753"/>
              <a:gd name="T84" fmla="*/ 206 w 751"/>
              <a:gd name="T85" fmla="*/ 552 h 753"/>
              <a:gd name="T86" fmla="*/ 251 w 751"/>
              <a:gd name="T87" fmla="*/ 587 h 753"/>
              <a:gd name="T88" fmla="*/ 305 w 751"/>
              <a:gd name="T89" fmla="*/ 610 h 753"/>
              <a:gd name="T90" fmla="*/ 363 w 751"/>
              <a:gd name="T91" fmla="*/ 620 h 753"/>
              <a:gd name="T92" fmla="*/ 423 w 751"/>
              <a:gd name="T93" fmla="*/ 616 h 753"/>
              <a:gd name="T94" fmla="*/ 479 w 751"/>
              <a:gd name="T95" fmla="*/ 598 h 753"/>
              <a:gd name="T96" fmla="*/ 526 w 751"/>
              <a:gd name="T97" fmla="*/ 568 h 753"/>
              <a:gd name="T98" fmla="*/ 567 w 751"/>
              <a:gd name="T99" fmla="*/ 529 h 753"/>
              <a:gd name="T100" fmla="*/ 596 w 751"/>
              <a:gd name="T101" fmla="*/ 480 h 753"/>
              <a:gd name="T102" fmla="*/ 615 w 751"/>
              <a:gd name="T103" fmla="*/ 425 h 753"/>
              <a:gd name="T104" fmla="*/ 751 w 751"/>
              <a:gd name="T105" fmla="*/ 384 h 753"/>
              <a:gd name="T106" fmla="*/ 400 w 751"/>
              <a:gd name="T107" fmla="*/ 224 h 753"/>
              <a:gd name="T108" fmla="*/ 410 w 751"/>
              <a:gd name="T109" fmla="*/ 255 h 753"/>
              <a:gd name="T110" fmla="*/ 389 w 751"/>
              <a:gd name="T111" fmla="*/ 280 h 753"/>
              <a:gd name="T112" fmla="*/ 357 w 751"/>
              <a:gd name="T113" fmla="*/ 277 h 753"/>
              <a:gd name="T114" fmla="*/ 343 w 751"/>
              <a:gd name="T115" fmla="*/ 248 h 753"/>
              <a:gd name="T116" fmla="*/ 357 w 751"/>
              <a:gd name="T117" fmla="*/ 220 h 753"/>
              <a:gd name="T118" fmla="*/ 407 w 751"/>
              <a:gd name="T119" fmla="*/ 298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1" h="753">
                <a:moveTo>
                  <a:pt x="376" y="0"/>
                </a:moveTo>
                <a:lnTo>
                  <a:pt x="394" y="0"/>
                </a:lnTo>
                <a:lnTo>
                  <a:pt x="413" y="2"/>
                </a:lnTo>
                <a:lnTo>
                  <a:pt x="431" y="4"/>
                </a:lnTo>
                <a:lnTo>
                  <a:pt x="449" y="7"/>
                </a:lnTo>
                <a:lnTo>
                  <a:pt x="466" y="11"/>
                </a:lnTo>
                <a:lnTo>
                  <a:pt x="484" y="15"/>
                </a:lnTo>
                <a:lnTo>
                  <a:pt x="501" y="21"/>
                </a:lnTo>
                <a:lnTo>
                  <a:pt x="517" y="27"/>
                </a:lnTo>
                <a:lnTo>
                  <a:pt x="533" y="35"/>
                </a:lnTo>
                <a:lnTo>
                  <a:pt x="549" y="43"/>
                </a:lnTo>
                <a:lnTo>
                  <a:pt x="565" y="51"/>
                </a:lnTo>
                <a:lnTo>
                  <a:pt x="579" y="60"/>
                </a:lnTo>
                <a:lnTo>
                  <a:pt x="594" y="70"/>
                </a:lnTo>
                <a:lnTo>
                  <a:pt x="607" y="80"/>
                </a:lnTo>
                <a:lnTo>
                  <a:pt x="622" y="91"/>
                </a:lnTo>
                <a:lnTo>
                  <a:pt x="634" y="103"/>
                </a:lnTo>
                <a:lnTo>
                  <a:pt x="646" y="115"/>
                </a:lnTo>
                <a:lnTo>
                  <a:pt x="658" y="128"/>
                </a:lnTo>
                <a:lnTo>
                  <a:pt x="669" y="141"/>
                </a:lnTo>
                <a:lnTo>
                  <a:pt x="679" y="156"/>
                </a:lnTo>
                <a:lnTo>
                  <a:pt x="690" y="170"/>
                </a:lnTo>
                <a:lnTo>
                  <a:pt x="699" y="184"/>
                </a:lnTo>
                <a:lnTo>
                  <a:pt x="708" y="199"/>
                </a:lnTo>
                <a:lnTo>
                  <a:pt x="716" y="216"/>
                </a:lnTo>
                <a:lnTo>
                  <a:pt x="723" y="232"/>
                </a:lnTo>
                <a:lnTo>
                  <a:pt x="729" y="248"/>
                </a:lnTo>
                <a:lnTo>
                  <a:pt x="735" y="265"/>
                </a:lnTo>
                <a:lnTo>
                  <a:pt x="739" y="283"/>
                </a:lnTo>
                <a:lnTo>
                  <a:pt x="744" y="300"/>
                </a:lnTo>
                <a:lnTo>
                  <a:pt x="747" y="317"/>
                </a:lnTo>
                <a:lnTo>
                  <a:pt x="749" y="335"/>
                </a:lnTo>
                <a:lnTo>
                  <a:pt x="751" y="354"/>
                </a:lnTo>
                <a:lnTo>
                  <a:pt x="694" y="408"/>
                </a:lnTo>
                <a:lnTo>
                  <a:pt x="619" y="363"/>
                </a:lnTo>
                <a:lnTo>
                  <a:pt x="618" y="351"/>
                </a:lnTo>
                <a:lnTo>
                  <a:pt x="616" y="340"/>
                </a:lnTo>
                <a:lnTo>
                  <a:pt x="613" y="327"/>
                </a:lnTo>
                <a:lnTo>
                  <a:pt x="611" y="316"/>
                </a:lnTo>
                <a:lnTo>
                  <a:pt x="608" y="305"/>
                </a:lnTo>
                <a:lnTo>
                  <a:pt x="604" y="294"/>
                </a:lnTo>
                <a:lnTo>
                  <a:pt x="600" y="284"/>
                </a:lnTo>
                <a:lnTo>
                  <a:pt x="595" y="272"/>
                </a:lnTo>
                <a:lnTo>
                  <a:pt x="590" y="262"/>
                </a:lnTo>
                <a:lnTo>
                  <a:pt x="585" y="253"/>
                </a:lnTo>
                <a:lnTo>
                  <a:pt x="579" y="243"/>
                </a:lnTo>
                <a:lnTo>
                  <a:pt x="573" y="234"/>
                </a:lnTo>
                <a:lnTo>
                  <a:pt x="566" y="225"/>
                </a:lnTo>
                <a:lnTo>
                  <a:pt x="559" y="217"/>
                </a:lnTo>
                <a:lnTo>
                  <a:pt x="551" y="207"/>
                </a:lnTo>
                <a:lnTo>
                  <a:pt x="542" y="200"/>
                </a:lnTo>
                <a:lnTo>
                  <a:pt x="534" y="192"/>
                </a:lnTo>
                <a:lnTo>
                  <a:pt x="526" y="185"/>
                </a:lnTo>
                <a:lnTo>
                  <a:pt x="517" y="178"/>
                </a:lnTo>
                <a:lnTo>
                  <a:pt x="508" y="172"/>
                </a:lnTo>
                <a:lnTo>
                  <a:pt x="498" y="166"/>
                </a:lnTo>
                <a:lnTo>
                  <a:pt x="488" y="161"/>
                </a:lnTo>
                <a:lnTo>
                  <a:pt x="478" y="156"/>
                </a:lnTo>
                <a:lnTo>
                  <a:pt x="467" y="151"/>
                </a:lnTo>
                <a:lnTo>
                  <a:pt x="456" y="147"/>
                </a:lnTo>
                <a:lnTo>
                  <a:pt x="445" y="143"/>
                </a:lnTo>
                <a:lnTo>
                  <a:pt x="434" y="140"/>
                </a:lnTo>
                <a:lnTo>
                  <a:pt x="423" y="137"/>
                </a:lnTo>
                <a:lnTo>
                  <a:pt x="412" y="136"/>
                </a:lnTo>
                <a:lnTo>
                  <a:pt x="399" y="134"/>
                </a:lnTo>
                <a:lnTo>
                  <a:pt x="387" y="133"/>
                </a:lnTo>
                <a:lnTo>
                  <a:pt x="376" y="133"/>
                </a:lnTo>
                <a:lnTo>
                  <a:pt x="364" y="133"/>
                </a:lnTo>
                <a:lnTo>
                  <a:pt x="352" y="134"/>
                </a:lnTo>
                <a:lnTo>
                  <a:pt x="341" y="135"/>
                </a:lnTo>
                <a:lnTo>
                  <a:pt x="328" y="137"/>
                </a:lnTo>
                <a:lnTo>
                  <a:pt x="317" y="140"/>
                </a:lnTo>
                <a:lnTo>
                  <a:pt x="306" y="143"/>
                </a:lnTo>
                <a:lnTo>
                  <a:pt x="296" y="146"/>
                </a:lnTo>
                <a:lnTo>
                  <a:pt x="285" y="150"/>
                </a:lnTo>
                <a:lnTo>
                  <a:pt x="275" y="156"/>
                </a:lnTo>
                <a:lnTo>
                  <a:pt x="264" y="160"/>
                </a:lnTo>
                <a:lnTo>
                  <a:pt x="254" y="166"/>
                </a:lnTo>
                <a:lnTo>
                  <a:pt x="245" y="171"/>
                </a:lnTo>
                <a:lnTo>
                  <a:pt x="236" y="177"/>
                </a:lnTo>
                <a:lnTo>
                  <a:pt x="227" y="184"/>
                </a:lnTo>
                <a:lnTo>
                  <a:pt x="218" y="191"/>
                </a:lnTo>
                <a:lnTo>
                  <a:pt x="210" y="198"/>
                </a:lnTo>
                <a:lnTo>
                  <a:pt x="194" y="214"/>
                </a:lnTo>
                <a:lnTo>
                  <a:pt x="180" y="232"/>
                </a:lnTo>
                <a:lnTo>
                  <a:pt x="174" y="241"/>
                </a:lnTo>
                <a:lnTo>
                  <a:pt x="168" y="250"/>
                </a:lnTo>
                <a:lnTo>
                  <a:pt x="162" y="260"/>
                </a:lnTo>
                <a:lnTo>
                  <a:pt x="157" y="270"/>
                </a:lnTo>
                <a:lnTo>
                  <a:pt x="152" y="281"/>
                </a:lnTo>
                <a:lnTo>
                  <a:pt x="148" y="291"/>
                </a:lnTo>
                <a:lnTo>
                  <a:pt x="144" y="302"/>
                </a:lnTo>
                <a:lnTo>
                  <a:pt x="141" y="312"/>
                </a:lnTo>
                <a:lnTo>
                  <a:pt x="138" y="323"/>
                </a:lnTo>
                <a:lnTo>
                  <a:pt x="136" y="335"/>
                </a:lnTo>
                <a:lnTo>
                  <a:pt x="135" y="347"/>
                </a:lnTo>
                <a:lnTo>
                  <a:pt x="133" y="358"/>
                </a:lnTo>
                <a:lnTo>
                  <a:pt x="65" y="317"/>
                </a:lnTo>
                <a:lnTo>
                  <a:pt x="0" y="379"/>
                </a:lnTo>
                <a:lnTo>
                  <a:pt x="0" y="377"/>
                </a:lnTo>
                <a:lnTo>
                  <a:pt x="0" y="358"/>
                </a:lnTo>
                <a:lnTo>
                  <a:pt x="2" y="339"/>
                </a:lnTo>
                <a:lnTo>
                  <a:pt x="4" y="319"/>
                </a:lnTo>
                <a:lnTo>
                  <a:pt x="7" y="301"/>
                </a:lnTo>
                <a:lnTo>
                  <a:pt x="11" y="283"/>
                </a:lnTo>
                <a:lnTo>
                  <a:pt x="16" y="264"/>
                </a:lnTo>
                <a:lnTo>
                  <a:pt x="22" y="247"/>
                </a:lnTo>
                <a:lnTo>
                  <a:pt x="29" y="230"/>
                </a:lnTo>
                <a:lnTo>
                  <a:pt x="36" y="213"/>
                </a:lnTo>
                <a:lnTo>
                  <a:pt x="45" y="197"/>
                </a:lnTo>
                <a:lnTo>
                  <a:pt x="53" y="181"/>
                </a:lnTo>
                <a:lnTo>
                  <a:pt x="64" y="166"/>
                </a:lnTo>
                <a:lnTo>
                  <a:pt x="74" y="151"/>
                </a:lnTo>
                <a:lnTo>
                  <a:pt x="85" y="137"/>
                </a:lnTo>
                <a:lnTo>
                  <a:pt x="97" y="123"/>
                </a:lnTo>
                <a:lnTo>
                  <a:pt x="109" y="111"/>
                </a:lnTo>
                <a:lnTo>
                  <a:pt x="122" y="98"/>
                </a:lnTo>
                <a:lnTo>
                  <a:pt x="137" y="86"/>
                </a:lnTo>
                <a:lnTo>
                  <a:pt x="151" y="75"/>
                </a:lnTo>
                <a:lnTo>
                  <a:pt x="165" y="64"/>
                </a:lnTo>
                <a:lnTo>
                  <a:pt x="180" y="55"/>
                </a:lnTo>
                <a:lnTo>
                  <a:pt x="197" y="46"/>
                </a:lnTo>
                <a:lnTo>
                  <a:pt x="213" y="38"/>
                </a:lnTo>
                <a:lnTo>
                  <a:pt x="229" y="29"/>
                </a:lnTo>
                <a:lnTo>
                  <a:pt x="246" y="22"/>
                </a:lnTo>
                <a:lnTo>
                  <a:pt x="263" y="17"/>
                </a:lnTo>
                <a:lnTo>
                  <a:pt x="282" y="12"/>
                </a:lnTo>
                <a:lnTo>
                  <a:pt x="300" y="8"/>
                </a:lnTo>
                <a:lnTo>
                  <a:pt x="318" y="4"/>
                </a:lnTo>
                <a:lnTo>
                  <a:pt x="338" y="2"/>
                </a:lnTo>
                <a:lnTo>
                  <a:pt x="356" y="0"/>
                </a:lnTo>
                <a:lnTo>
                  <a:pt x="376" y="0"/>
                </a:lnTo>
                <a:close/>
                <a:moveTo>
                  <a:pt x="751" y="384"/>
                </a:moveTo>
                <a:lnTo>
                  <a:pt x="750" y="404"/>
                </a:lnTo>
                <a:lnTo>
                  <a:pt x="749" y="423"/>
                </a:lnTo>
                <a:lnTo>
                  <a:pt x="746" y="441"/>
                </a:lnTo>
                <a:lnTo>
                  <a:pt x="742" y="459"/>
                </a:lnTo>
                <a:lnTo>
                  <a:pt x="738" y="477"/>
                </a:lnTo>
                <a:lnTo>
                  <a:pt x="733" y="495"/>
                </a:lnTo>
                <a:lnTo>
                  <a:pt x="727" y="512"/>
                </a:lnTo>
                <a:lnTo>
                  <a:pt x="720" y="529"/>
                </a:lnTo>
                <a:lnTo>
                  <a:pt x="712" y="545"/>
                </a:lnTo>
                <a:lnTo>
                  <a:pt x="704" y="561"/>
                </a:lnTo>
                <a:lnTo>
                  <a:pt x="695" y="576"/>
                </a:lnTo>
                <a:lnTo>
                  <a:pt x="685" y="592"/>
                </a:lnTo>
                <a:lnTo>
                  <a:pt x="674" y="606"/>
                </a:lnTo>
                <a:lnTo>
                  <a:pt x="663" y="620"/>
                </a:lnTo>
                <a:lnTo>
                  <a:pt x="651" y="633"/>
                </a:lnTo>
                <a:lnTo>
                  <a:pt x="639" y="646"/>
                </a:lnTo>
                <a:lnTo>
                  <a:pt x="626" y="658"/>
                </a:lnTo>
                <a:lnTo>
                  <a:pt x="612" y="670"/>
                </a:lnTo>
                <a:lnTo>
                  <a:pt x="598" y="680"/>
                </a:lnTo>
                <a:lnTo>
                  <a:pt x="584" y="691"/>
                </a:lnTo>
                <a:lnTo>
                  <a:pt x="569" y="700"/>
                </a:lnTo>
                <a:lnTo>
                  <a:pt x="553" y="710"/>
                </a:lnTo>
                <a:lnTo>
                  <a:pt x="536" y="718"/>
                </a:lnTo>
                <a:lnTo>
                  <a:pt x="520" y="725"/>
                </a:lnTo>
                <a:lnTo>
                  <a:pt x="503" y="731"/>
                </a:lnTo>
                <a:lnTo>
                  <a:pt x="486" y="737"/>
                </a:lnTo>
                <a:lnTo>
                  <a:pt x="468" y="742"/>
                </a:lnTo>
                <a:lnTo>
                  <a:pt x="450" y="746"/>
                </a:lnTo>
                <a:lnTo>
                  <a:pt x="432" y="749"/>
                </a:lnTo>
                <a:lnTo>
                  <a:pt x="414" y="751"/>
                </a:lnTo>
                <a:lnTo>
                  <a:pt x="394" y="753"/>
                </a:lnTo>
                <a:lnTo>
                  <a:pt x="376" y="753"/>
                </a:lnTo>
                <a:lnTo>
                  <a:pt x="357" y="753"/>
                </a:lnTo>
                <a:lnTo>
                  <a:pt x="340" y="752"/>
                </a:lnTo>
                <a:lnTo>
                  <a:pt x="321" y="750"/>
                </a:lnTo>
                <a:lnTo>
                  <a:pt x="304" y="747"/>
                </a:lnTo>
                <a:lnTo>
                  <a:pt x="286" y="743"/>
                </a:lnTo>
                <a:lnTo>
                  <a:pt x="270" y="738"/>
                </a:lnTo>
                <a:lnTo>
                  <a:pt x="252" y="733"/>
                </a:lnTo>
                <a:lnTo>
                  <a:pt x="236" y="727"/>
                </a:lnTo>
                <a:lnTo>
                  <a:pt x="220" y="720"/>
                </a:lnTo>
                <a:lnTo>
                  <a:pt x="205" y="713"/>
                </a:lnTo>
                <a:lnTo>
                  <a:pt x="189" y="704"/>
                </a:lnTo>
                <a:lnTo>
                  <a:pt x="174" y="695"/>
                </a:lnTo>
                <a:lnTo>
                  <a:pt x="160" y="686"/>
                </a:lnTo>
                <a:lnTo>
                  <a:pt x="147" y="676"/>
                </a:lnTo>
                <a:lnTo>
                  <a:pt x="134" y="665"/>
                </a:lnTo>
                <a:lnTo>
                  <a:pt x="120" y="654"/>
                </a:lnTo>
                <a:lnTo>
                  <a:pt x="108" y="641"/>
                </a:lnTo>
                <a:lnTo>
                  <a:pt x="96" y="629"/>
                </a:lnTo>
                <a:lnTo>
                  <a:pt x="85" y="616"/>
                </a:lnTo>
                <a:lnTo>
                  <a:pt x="75" y="603"/>
                </a:lnTo>
                <a:lnTo>
                  <a:pt x="65" y="589"/>
                </a:lnTo>
                <a:lnTo>
                  <a:pt x="56" y="574"/>
                </a:lnTo>
                <a:lnTo>
                  <a:pt x="46" y="559"/>
                </a:lnTo>
                <a:lnTo>
                  <a:pt x="38" y="544"/>
                </a:lnTo>
                <a:lnTo>
                  <a:pt x="31" y="529"/>
                </a:lnTo>
                <a:lnTo>
                  <a:pt x="24" y="512"/>
                </a:lnTo>
                <a:lnTo>
                  <a:pt x="19" y="496"/>
                </a:lnTo>
                <a:lnTo>
                  <a:pt x="14" y="479"/>
                </a:lnTo>
                <a:lnTo>
                  <a:pt x="9" y="462"/>
                </a:lnTo>
                <a:lnTo>
                  <a:pt x="6" y="444"/>
                </a:lnTo>
                <a:lnTo>
                  <a:pt x="3" y="427"/>
                </a:lnTo>
                <a:lnTo>
                  <a:pt x="1" y="409"/>
                </a:lnTo>
                <a:lnTo>
                  <a:pt x="68" y="346"/>
                </a:lnTo>
                <a:lnTo>
                  <a:pt x="133" y="384"/>
                </a:lnTo>
                <a:lnTo>
                  <a:pt x="134" y="396"/>
                </a:lnTo>
                <a:lnTo>
                  <a:pt x="135" y="409"/>
                </a:lnTo>
                <a:lnTo>
                  <a:pt x="137" y="421"/>
                </a:lnTo>
                <a:lnTo>
                  <a:pt x="139" y="432"/>
                </a:lnTo>
                <a:lnTo>
                  <a:pt x="142" y="443"/>
                </a:lnTo>
                <a:lnTo>
                  <a:pt x="145" y="455"/>
                </a:lnTo>
                <a:lnTo>
                  <a:pt x="149" y="466"/>
                </a:lnTo>
                <a:lnTo>
                  <a:pt x="154" y="477"/>
                </a:lnTo>
                <a:lnTo>
                  <a:pt x="159" y="487"/>
                </a:lnTo>
                <a:lnTo>
                  <a:pt x="164" y="497"/>
                </a:lnTo>
                <a:lnTo>
                  <a:pt x="170" y="507"/>
                </a:lnTo>
                <a:lnTo>
                  <a:pt x="176" y="516"/>
                </a:lnTo>
                <a:lnTo>
                  <a:pt x="183" y="526"/>
                </a:lnTo>
                <a:lnTo>
                  <a:pt x="190" y="535"/>
                </a:lnTo>
                <a:lnTo>
                  <a:pt x="199" y="544"/>
                </a:lnTo>
                <a:lnTo>
                  <a:pt x="206" y="552"/>
                </a:lnTo>
                <a:lnTo>
                  <a:pt x="215" y="559"/>
                </a:lnTo>
                <a:lnTo>
                  <a:pt x="223" y="567"/>
                </a:lnTo>
                <a:lnTo>
                  <a:pt x="232" y="573"/>
                </a:lnTo>
                <a:lnTo>
                  <a:pt x="242" y="580"/>
                </a:lnTo>
                <a:lnTo>
                  <a:pt x="251" y="587"/>
                </a:lnTo>
                <a:lnTo>
                  <a:pt x="261" y="593"/>
                </a:lnTo>
                <a:lnTo>
                  <a:pt x="272" y="598"/>
                </a:lnTo>
                <a:lnTo>
                  <a:pt x="283" y="602"/>
                </a:lnTo>
                <a:lnTo>
                  <a:pt x="294" y="606"/>
                </a:lnTo>
                <a:lnTo>
                  <a:pt x="305" y="610"/>
                </a:lnTo>
                <a:lnTo>
                  <a:pt x="316" y="613"/>
                </a:lnTo>
                <a:lnTo>
                  <a:pt x="327" y="616"/>
                </a:lnTo>
                <a:lnTo>
                  <a:pt x="340" y="618"/>
                </a:lnTo>
                <a:lnTo>
                  <a:pt x="351" y="619"/>
                </a:lnTo>
                <a:lnTo>
                  <a:pt x="363" y="620"/>
                </a:lnTo>
                <a:lnTo>
                  <a:pt x="376" y="620"/>
                </a:lnTo>
                <a:lnTo>
                  <a:pt x="387" y="620"/>
                </a:lnTo>
                <a:lnTo>
                  <a:pt x="399" y="619"/>
                </a:lnTo>
                <a:lnTo>
                  <a:pt x="412" y="618"/>
                </a:lnTo>
                <a:lnTo>
                  <a:pt x="423" y="616"/>
                </a:lnTo>
                <a:lnTo>
                  <a:pt x="435" y="613"/>
                </a:lnTo>
                <a:lnTo>
                  <a:pt x="446" y="610"/>
                </a:lnTo>
                <a:lnTo>
                  <a:pt x="457" y="607"/>
                </a:lnTo>
                <a:lnTo>
                  <a:pt x="467" y="603"/>
                </a:lnTo>
                <a:lnTo>
                  <a:pt x="479" y="598"/>
                </a:lnTo>
                <a:lnTo>
                  <a:pt x="489" y="593"/>
                </a:lnTo>
                <a:lnTo>
                  <a:pt x="498" y="588"/>
                </a:lnTo>
                <a:lnTo>
                  <a:pt x="508" y="581"/>
                </a:lnTo>
                <a:lnTo>
                  <a:pt x="517" y="575"/>
                </a:lnTo>
                <a:lnTo>
                  <a:pt x="526" y="568"/>
                </a:lnTo>
                <a:lnTo>
                  <a:pt x="535" y="561"/>
                </a:lnTo>
                <a:lnTo>
                  <a:pt x="543" y="553"/>
                </a:lnTo>
                <a:lnTo>
                  <a:pt x="552" y="545"/>
                </a:lnTo>
                <a:lnTo>
                  <a:pt x="559" y="537"/>
                </a:lnTo>
                <a:lnTo>
                  <a:pt x="567" y="529"/>
                </a:lnTo>
                <a:lnTo>
                  <a:pt x="573" y="519"/>
                </a:lnTo>
                <a:lnTo>
                  <a:pt x="580" y="509"/>
                </a:lnTo>
                <a:lnTo>
                  <a:pt x="585" y="500"/>
                </a:lnTo>
                <a:lnTo>
                  <a:pt x="591" y="490"/>
                </a:lnTo>
                <a:lnTo>
                  <a:pt x="596" y="480"/>
                </a:lnTo>
                <a:lnTo>
                  <a:pt x="600" y="470"/>
                </a:lnTo>
                <a:lnTo>
                  <a:pt x="605" y="458"/>
                </a:lnTo>
                <a:lnTo>
                  <a:pt x="608" y="447"/>
                </a:lnTo>
                <a:lnTo>
                  <a:pt x="611" y="436"/>
                </a:lnTo>
                <a:lnTo>
                  <a:pt x="615" y="425"/>
                </a:lnTo>
                <a:lnTo>
                  <a:pt x="617" y="413"/>
                </a:lnTo>
                <a:lnTo>
                  <a:pt x="618" y="402"/>
                </a:lnTo>
                <a:lnTo>
                  <a:pt x="619" y="389"/>
                </a:lnTo>
                <a:lnTo>
                  <a:pt x="697" y="436"/>
                </a:lnTo>
                <a:lnTo>
                  <a:pt x="751" y="384"/>
                </a:lnTo>
                <a:close/>
                <a:moveTo>
                  <a:pt x="376" y="214"/>
                </a:moveTo>
                <a:lnTo>
                  <a:pt x="383" y="214"/>
                </a:lnTo>
                <a:lnTo>
                  <a:pt x="389" y="217"/>
                </a:lnTo>
                <a:lnTo>
                  <a:pt x="395" y="220"/>
                </a:lnTo>
                <a:lnTo>
                  <a:pt x="400" y="224"/>
                </a:lnTo>
                <a:lnTo>
                  <a:pt x="405" y="229"/>
                </a:lnTo>
                <a:lnTo>
                  <a:pt x="408" y="235"/>
                </a:lnTo>
                <a:lnTo>
                  <a:pt x="410" y="241"/>
                </a:lnTo>
                <a:lnTo>
                  <a:pt x="411" y="248"/>
                </a:lnTo>
                <a:lnTo>
                  <a:pt x="410" y="255"/>
                </a:lnTo>
                <a:lnTo>
                  <a:pt x="408" y="261"/>
                </a:lnTo>
                <a:lnTo>
                  <a:pt x="405" y="267"/>
                </a:lnTo>
                <a:lnTo>
                  <a:pt x="400" y="272"/>
                </a:lnTo>
                <a:lnTo>
                  <a:pt x="395" y="277"/>
                </a:lnTo>
                <a:lnTo>
                  <a:pt x="389" y="280"/>
                </a:lnTo>
                <a:lnTo>
                  <a:pt x="383" y="282"/>
                </a:lnTo>
                <a:lnTo>
                  <a:pt x="376" y="282"/>
                </a:lnTo>
                <a:lnTo>
                  <a:pt x="369" y="282"/>
                </a:lnTo>
                <a:lnTo>
                  <a:pt x="363" y="280"/>
                </a:lnTo>
                <a:lnTo>
                  <a:pt x="357" y="277"/>
                </a:lnTo>
                <a:lnTo>
                  <a:pt x="353" y="272"/>
                </a:lnTo>
                <a:lnTo>
                  <a:pt x="348" y="267"/>
                </a:lnTo>
                <a:lnTo>
                  <a:pt x="345" y="261"/>
                </a:lnTo>
                <a:lnTo>
                  <a:pt x="343" y="255"/>
                </a:lnTo>
                <a:lnTo>
                  <a:pt x="343" y="248"/>
                </a:lnTo>
                <a:lnTo>
                  <a:pt x="343" y="241"/>
                </a:lnTo>
                <a:lnTo>
                  <a:pt x="345" y="235"/>
                </a:lnTo>
                <a:lnTo>
                  <a:pt x="348" y="229"/>
                </a:lnTo>
                <a:lnTo>
                  <a:pt x="353" y="224"/>
                </a:lnTo>
                <a:lnTo>
                  <a:pt x="357" y="220"/>
                </a:lnTo>
                <a:lnTo>
                  <a:pt x="363" y="217"/>
                </a:lnTo>
                <a:lnTo>
                  <a:pt x="369" y="214"/>
                </a:lnTo>
                <a:lnTo>
                  <a:pt x="376" y="214"/>
                </a:lnTo>
                <a:close/>
                <a:moveTo>
                  <a:pt x="345" y="298"/>
                </a:moveTo>
                <a:lnTo>
                  <a:pt x="407" y="298"/>
                </a:lnTo>
                <a:lnTo>
                  <a:pt x="407" y="540"/>
                </a:lnTo>
                <a:lnTo>
                  <a:pt x="345" y="540"/>
                </a:lnTo>
                <a:lnTo>
                  <a:pt x="345" y="29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71" name="Group 2070"/>
          <p:cNvGrpSpPr/>
          <p:nvPr/>
        </p:nvGrpSpPr>
        <p:grpSpPr>
          <a:xfrm>
            <a:off x="4587739" y="3363979"/>
            <a:ext cx="1578603" cy="564566"/>
            <a:chOff x="6257926" y="3271838"/>
            <a:chExt cx="279400" cy="174625"/>
          </a:xfrm>
          <a:solidFill>
            <a:schemeClr val="tx2"/>
          </a:solidFill>
        </p:grpSpPr>
        <p:sp>
          <p:nvSpPr>
            <p:cNvPr id="2055" name="Freeform 36"/>
            <p:cNvSpPr>
              <a:spLocks noEditPoints="1"/>
            </p:cNvSpPr>
            <p:nvPr/>
          </p:nvSpPr>
          <p:spPr bwMode="auto">
            <a:xfrm>
              <a:off x="6257926" y="3271838"/>
              <a:ext cx="279400" cy="174625"/>
            </a:xfrm>
            <a:custGeom>
              <a:avLst/>
              <a:gdLst>
                <a:gd name="T0" fmla="*/ 0 w 706"/>
                <a:gd name="T1" fmla="*/ 116 h 442"/>
                <a:gd name="T2" fmla="*/ 16 w 706"/>
                <a:gd name="T3" fmla="*/ 80 h 442"/>
                <a:gd name="T4" fmla="*/ 45 w 706"/>
                <a:gd name="T5" fmla="*/ 75 h 442"/>
                <a:gd name="T6" fmla="*/ 68 w 706"/>
                <a:gd name="T7" fmla="*/ 65 h 442"/>
                <a:gd name="T8" fmla="*/ 84 w 706"/>
                <a:gd name="T9" fmla="*/ 49 h 442"/>
                <a:gd name="T10" fmla="*/ 95 w 706"/>
                <a:gd name="T11" fmla="*/ 28 h 442"/>
                <a:gd name="T12" fmla="*/ 99 w 706"/>
                <a:gd name="T13" fmla="*/ 0 h 442"/>
                <a:gd name="T14" fmla="*/ 91 w 706"/>
                <a:gd name="T15" fmla="*/ 433 h 442"/>
                <a:gd name="T16" fmla="*/ 318 w 706"/>
                <a:gd name="T17" fmla="*/ 267 h 442"/>
                <a:gd name="T18" fmla="*/ 322 w 706"/>
                <a:gd name="T19" fmla="*/ 324 h 442"/>
                <a:gd name="T20" fmla="*/ 331 w 706"/>
                <a:gd name="T21" fmla="*/ 361 h 442"/>
                <a:gd name="T22" fmla="*/ 346 w 706"/>
                <a:gd name="T23" fmla="*/ 385 h 442"/>
                <a:gd name="T24" fmla="*/ 367 w 706"/>
                <a:gd name="T25" fmla="*/ 397 h 442"/>
                <a:gd name="T26" fmla="*/ 392 w 706"/>
                <a:gd name="T27" fmla="*/ 399 h 442"/>
                <a:gd name="T28" fmla="*/ 416 w 706"/>
                <a:gd name="T29" fmla="*/ 391 h 442"/>
                <a:gd name="T30" fmla="*/ 432 w 706"/>
                <a:gd name="T31" fmla="*/ 374 h 442"/>
                <a:gd name="T32" fmla="*/ 442 w 706"/>
                <a:gd name="T33" fmla="*/ 343 h 442"/>
                <a:gd name="T34" fmla="*/ 448 w 706"/>
                <a:gd name="T35" fmla="*/ 292 h 442"/>
                <a:gd name="T36" fmla="*/ 450 w 706"/>
                <a:gd name="T37" fmla="*/ 219 h 442"/>
                <a:gd name="T38" fmla="*/ 448 w 706"/>
                <a:gd name="T39" fmla="*/ 151 h 442"/>
                <a:gd name="T40" fmla="*/ 441 w 706"/>
                <a:gd name="T41" fmla="*/ 102 h 442"/>
                <a:gd name="T42" fmla="*/ 431 w 706"/>
                <a:gd name="T43" fmla="*/ 71 h 442"/>
                <a:gd name="T44" fmla="*/ 415 w 706"/>
                <a:gd name="T45" fmla="*/ 51 h 442"/>
                <a:gd name="T46" fmla="*/ 392 w 706"/>
                <a:gd name="T47" fmla="*/ 43 h 442"/>
                <a:gd name="T48" fmla="*/ 366 w 706"/>
                <a:gd name="T49" fmla="*/ 44 h 442"/>
                <a:gd name="T50" fmla="*/ 346 w 706"/>
                <a:gd name="T51" fmla="*/ 56 h 442"/>
                <a:gd name="T52" fmla="*/ 331 w 706"/>
                <a:gd name="T53" fmla="*/ 78 h 442"/>
                <a:gd name="T54" fmla="*/ 322 w 706"/>
                <a:gd name="T55" fmla="*/ 114 h 442"/>
                <a:gd name="T56" fmla="*/ 317 w 706"/>
                <a:gd name="T57" fmla="*/ 170 h 442"/>
                <a:gd name="T58" fmla="*/ 268 w 706"/>
                <a:gd name="T59" fmla="*/ 220 h 442"/>
                <a:gd name="T60" fmla="*/ 271 w 706"/>
                <a:gd name="T61" fmla="*/ 140 h 442"/>
                <a:gd name="T62" fmla="*/ 283 w 706"/>
                <a:gd name="T63" fmla="*/ 79 h 442"/>
                <a:gd name="T64" fmla="*/ 301 w 706"/>
                <a:gd name="T65" fmla="*/ 38 h 442"/>
                <a:gd name="T66" fmla="*/ 329 w 706"/>
                <a:gd name="T67" fmla="*/ 13 h 442"/>
                <a:gd name="T68" fmla="*/ 368 w 706"/>
                <a:gd name="T69" fmla="*/ 2 h 442"/>
                <a:gd name="T70" fmla="*/ 413 w 706"/>
                <a:gd name="T71" fmla="*/ 4 h 442"/>
                <a:gd name="T72" fmla="*/ 432 w 706"/>
                <a:gd name="T73" fmla="*/ 11 h 442"/>
                <a:gd name="T74" fmla="*/ 458 w 706"/>
                <a:gd name="T75" fmla="*/ 32 h 442"/>
                <a:gd name="T76" fmla="*/ 482 w 706"/>
                <a:gd name="T77" fmla="*/ 69 h 442"/>
                <a:gd name="T78" fmla="*/ 494 w 706"/>
                <a:gd name="T79" fmla="*/ 116 h 442"/>
                <a:gd name="T80" fmla="*/ 499 w 706"/>
                <a:gd name="T81" fmla="*/ 190 h 442"/>
                <a:gd name="T82" fmla="*/ 498 w 706"/>
                <a:gd name="T83" fmla="*/ 276 h 442"/>
                <a:gd name="T84" fmla="*/ 489 w 706"/>
                <a:gd name="T85" fmla="*/ 343 h 442"/>
                <a:gd name="T86" fmla="*/ 472 w 706"/>
                <a:gd name="T87" fmla="*/ 391 h 442"/>
                <a:gd name="T88" fmla="*/ 448 w 706"/>
                <a:gd name="T89" fmla="*/ 422 h 442"/>
                <a:gd name="T90" fmla="*/ 414 w 706"/>
                <a:gd name="T91" fmla="*/ 439 h 442"/>
                <a:gd name="T92" fmla="*/ 370 w 706"/>
                <a:gd name="T93" fmla="*/ 441 h 442"/>
                <a:gd name="T94" fmla="*/ 330 w 706"/>
                <a:gd name="T95" fmla="*/ 430 h 442"/>
                <a:gd name="T96" fmla="*/ 301 w 706"/>
                <a:gd name="T97" fmla="*/ 404 h 442"/>
                <a:gd name="T98" fmla="*/ 283 w 706"/>
                <a:gd name="T99" fmla="*/ 362 h 442"/>
                <a:gd name="T100" fmla="*/ 271 w 706"/>
                <a:gd name="T101" fmla="*/ 301 h 442"/>
                <a:gd name="T102" fmla="*/ 268 w 706"/>
                <a:gd name="T103" fmla="*/ 220 h 442"/>
                <a:gd name="T104" fmla="*/ 569 w 706"/>
                <a:gd name="T105" fmla="*/ 116 h 442"/>
                <a:gd name="T106" fmla="*/ 585 w 706"/>
                <a:gd name="T107" fmla="*/ 80 h 442"/>
                <a:gd name="T108" fmla="*/ 614 w 706"/>
                <a:gd name="T109" fmla="*/ 75 h 442"/>
                <a:gd name="T110" fmla="*/ 637 w 706"/>
                <a:gd name="T111" fmla="*/ 65 h 442"/>
                <a:gd name="T112" fmla="*/ 653 w 706"/>
                <a:gd name="T113" fmla="*/ 49 h 442"/>
                <a:gd name="T114" fmla="*/ 663 w 706"/>
                <a:gd name="T115" fmla="*/ 28 h 442"/>
                <a:gd name="T116" fmla="*/ 668 w 706"/>
                <a:gd name="T117" fmla="*/ 0 h 442"/>
                <a:gd name="T118" fmla="*/ 660 w 706"/>
                <a:gd name="T119" fmla="*/ 43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6" h="442">
                  <a:moveTo>
                    <a:pt x="91" y="433"/>
                  </a:moveTo>
                  <a:lnTo>
                    <a:pt x="91" y="116"/>
                  </a:lnTo>
                  <a:lnTo>
                    <a:pt x="0" y="116"/>
                  </a:lnTo>
                  <a:lnTo>
                    <a:pt x="0" y="80"/>
                  </a:lnTo>
                  <a:lnTo>
                    <a:pt x="5" y="80"/>
                  </a:lnTo>
                  <a:lnTo>
                    <a:pt x="16" y="80"/>
                  </a:lnTo>
                  <a:lnTo>
                    <a:pt x="27" y="79"/>
                  </a:lnTo>
                  <a:lnTo>
                    <a:pt x="36" y="77"/>
                  </a:lnTo>
                  <a:lnTo>
                    <a:pt x="45" y="75"/>
                  </a:lnTo>
                  <a:lnTo>
                    <a:pt x="53" y="73"/>
                  </a:lnTo>
                  <a:lnTo>
                    <a:pt x="61" y="69"/>
                  </a:lnTo>
                  <a:lnTo>
                    <a:pt x="68" y="65"/>
                  </a:lnTo>
                  <a:lnTo>
                    <a:pt x="74" y="61"/>
                  </a:lnTo>
                  <a:lnTo>
                    <a:pt x="80" y="55"/>
                  </a:lnTo>
                  <a:lnTo>
                    <a:pt x="84" y="49"/>
                  </a:lnTo>
                  <a:lnTo>
                    <a:pt x="88" y="42"/>
                  </a:lnTo>
                  <a:lnTo>
                    <a:pt x="92" y="35"/>
                  </a:lnTo>
                  <a:lnTo>
                    <a:pt x="95" y="28"/>
                  </a:lnTo>
                  <a:lnTo>
                    <a:pt x="97" y="19"/>
                  </a:lnTo>
                  <a:lnTo>
                    <a:pt x="98" y="10"/>
                  </a:lnTo>
                  <a:lnTo>
                    <a:pt x="99" y="0"/>
                  </a:lnTo>
                  <a:lnTo>
                    <a:pt x="137" y="0"/>
                  </a:lnTo>
                  <a:lnTo>
                    <a:pt x="137" y="433"/>
                  </a:lnTo>
                  <a:lnTo>
                    <a:pt x="91" y="433"/>
                  </a:lnTo>
                  <a:close/>
                  <a:moveTo>
                    <a:pt x="317" y="219"/>
                  </a:moveTo>
                  <a:lnTo>
                    <a:pt x="317" y="245"/>
                  </a:lnTo>
                  <a:lnTo>
                    <a:pt x="318" y="267"/>
                  </a:lnTo>
                  <a:lnTo>
                    <a:pt x="319" y="288"/>
                  </a:lnTo>
                  <a:lnTo>
                    <a:pt x="320" y="307"/>
                  </a:lnTo>
                  <a:lnTo>
                    <a:pt x="322" y="324"/>
                  </a:lnTo>
                  <a:lnTo>
                    <a:pt x="325" y="338"/>
                  </a:lnTo>
                  <a:lnTo>
                    <a:pt x="328" y="351"/>
                  </a:lnTo>
                  <a:lnTo>
                    <a:pt x="331" y="361"/>
                  </a:lnTo>
                  <a:lnTo>
                    <a:pt x="336" y="371"/>
                  </a:lnTo>
                  <a:lnTo>
                    <a:pt x="341" y="379"/>
                  </a:lnTo>
                  <a:lnTo>
                    <a:pt x="346" y="385"/>
                  </a:lnTo>
                  <a:lnTo>
                    <a:pt x="353" y="390"/>
                  </a:lnTo>
                  <a:lnTo>
                    <a:pt x="359" y="395"/>
                  </a:lnTo>
                  <a:lnTo>
                    <a:pt x="367" y="397"/>
                  </a:lnTo>
                  <a:lnTo>
                    <a:pt x="375" y="399"/>
                  </a:lnTo>
                  <a:lnTo>
                    <a:pt x="384" y="400"/>
                  </a:lnTo>
                  <a:lnTo>
                    <a:pt x="392" y="399"/>
                  </a:lnTo>
                  <a:lnTo>
                    <a:pt x="401" y="398"/>
                  </a:lnTo>
                  <a:lnTo>
                    <a:pt x="409" y="395"/>
                  </a:lnTo>
                  <a:lnTo>
                    <a:pt x="416" y="391"/>
                  </a:lnTo>
                  <a:lnTo>
                    <a:pt x="422" y="386"/>
                  </a:lnTo>
                  <a:lnTo>
                    <a:pt x="427" y="381"/>
                  </a:lnTo>
                  <a:lnTo>
                    <a:pt x="432" y="374"/>
                  </a:lnTo>
                  <a:lnTo>
                    <a:pt x="435" y="366"/>
                  </a:lnTo>
                  <a:lnTo>
                    <a:pt x="439" y="355"/>
                  </a:lnTo>
                  <a:lnTo>
                    <a:pt x="442" y="343"/>
                  </a:lnTo>
                  <a:lnTo>
                    <a:pt x="444" y="329"/>
                  </a:lnTo>
                  <a:lnTo>
                    <a:pt x="446" y="312"/>
                  </a:lnTo>
                  <a:lnTo>
                    <a:pt x="448" y="292"/>
                  </a:lnTo>
                  <a:lnTo>
                    <a:pt x="449" y="270"/>
                  </a:lnTo>
                  <a:lnTo>
                    <a:pt x="449" y="247"/>
                  </a:lnTo>
                  <a:lnTo>
                    <a:pt x="450" y="219"/>
                  </a:lnTo>
                  <a:lnTo>
                    <a:pt x="449" y="195"/>
                  </a:lnTo>
                  <a:lnTo>
                    <a:pt x="449" y="172"/>
                  </a:lnTo>
                  <a:lnTo>
                    <a:pt x="448" y="151"/>
                  </a:lnTo>
                  <a:lnTo>
                    <a:pt x="446" y="133"/>
                  </a:lnTo>
                  <a:lnTo>
                    <a:pt x="444" y="116"/>
                  </a:lnTo>
                  <a:lnTo>
                    <a:pt x="441" y="102"/>
                  </a:lnTo>
                  <a:lnTo>
                    <a:pt x="438" y="89"/>
                  </a:lnTo>
                  <a:lnTo>
                    <a:pt x="435" y="79"/>
                  </a:lnTo>
                  <a:lnTo>
                    <a:pt x="431" y="71"/>
                  </a:lnTo>
                  <a:lnTo>
                    <a:pt x="426" y="63"/>
                  </a:lnTo>
                  <a:lnTo>
                    <a:pt x="421" y="56"/>
                  </a:lnTo>
                  <a:lnTo>
                    <a:pt x="415" y="51"/>
                  </a:lnTo>
                  <a:lnTo>
                    <a:pt x="408" y="47"/>
                  </a:lnTo>
                  <a:lnTo>
                    <a:pt x="400" y="44"/>
                  </a:lnTo>
                  <a:lnTo>
                    <a:pt x="392" y="43"/>
                  </a:lnTo>
                  <a:lnTo>
                    <a:pt x="383" y="42"/>
                  </a:lnTo>
                  <a:lnTo>
                    <a:pt x="374" y="42"/>
                  </a:lnTo>
                  <a:lnTo>
                    <a:pt x="366" y="44"/>
                  </a:lnTo>
                  <a:lnTo>
                    <a:pt x="359" y="47"/>
                  </a:lnTo>
                  <a:lnTo>
                    <a:pt x="352" y="51"/>
                  </a:lnTo>
                  <a:lnTo>
                    <a:pt x="346" y="56"/>
                  </a:lnTo>
                  <a:lnTo>
                    <a:pt x="340" y="63"/>
                  </a:lnTo>
                  <a:lnTo>
                    <a:pt x="336" y="70"/>
                  </a:lnTo>
                  <a:lnTo>
                    <a:pt x="331" y="78"/>
                  </a:lnTo>
                  <a:lnTo>
                    <a:pt x="328" y="88"/>
                  </a:lnTo>
                  <a:lnTo>
                    <a:pt x="325" y="99"/>
                  </a:lnTo>
                  <a:lnTo>
                    <a:pt x="322" y="114"/>
                  </a:lnTo>
                  <a:lnTo>
                    <a:pt x="320" y="131"/>
                  </a:lnTo>
                  <a:lnTo>
                    <a:pt x="319" y="149"/>
                  </a:lnTo>
                  <a:lnTo>
                    <a:pt x="317" y="170"/>
                  </a:lnTo>
                  <a:lnTo>
                    <a:pt x="317" y="194"/>
                  </a:lnTo>
                  <a:lnTo>
                    <a:pt x="317" y="219"/>
                  </a:lnTo>
                  <a:close/>
                  <a:moveTo>
                    <a:pt x="268" y="220"/>
                  </a:moveTo>
                  <a:lnTo>
                    <a:pt x="268" y="191"/>
                  </a:lnTo>
                  <a:lnTo>
                    <a:pt x="269" y="164"/>
                  </a:lnTo>
                  <a:lnTo>
                    <a:pt x="271" y="140"/>
                  </a:lnTo>
                  <a:lnTo>
                    <a:pt x="274" y="117"/>
                  </a:lnTo>
                  <a:lnTo>
                    <a:pt x="278" y="97"/>
                  </a:lnTo>
                  <a:lnTo>
                    <a:pt x="283" y="79"/>
                  </a:lnTo>
                  <a:lnTo>
                    <a:pt x="288" y="64"/>
                  </a:lnTo>
                  <a:lnTo>
                    <a:pt x="294" y="49"/>
                  </a:lnTo>
                  <a:lnTo>
                    <a:pt x="301" y="38"/>
                  </a:lnTo>
                  <a:lnTo>
                    <a:pt x="309" y="28"/>
                  </a:lnTo>
                  <a:lnTo>
                    <a:pt x="319" y="20"/>
                  </a:lnTo>
                  <a:lnTo>
                    <a:pt x="329" y="13"/>
                  </a:lnTo>
                  <a:lnTo>
                    <a:pt x="342" y="8"/>
                  </a:lnTo>
                  <a:lnTo>
                    <a:pt x="354" y="4"/>
                  </a:lnTo>
                  <a:lnTo>
                    <a:pt x="368" y="2"/>
                  </a:lnTo>
                  <a:lnTo>
                    <a:pt x="383" y="1"/>
                  </a:lnTo>
                  <a:lnTo>
                    <a:pt x="398" y="2"/>
                  </a:lnTo>
                  <a:lnTo>
                    <a:pt x="413" y="4"/>
                  </a:lnTo>
                  <a:lnTo>
                    <a:pt x="419" y="6"/>
                  </a:lnTo>
                  <a:lnTo>
                    <a:pt x="426" y="9"/>
                  </a:lnTo>
                  <a:lnTo>
                    <a:pt x="432" y="11"/>
                  </a:lnTo>
                  <a:lnTo>
                    <a:pt x="437" y="15"/>
                  </a:lnTo>
                  <a:lnTo>
                    <a:pt x="448" y="22"/>
                  </a:lnTo>
                  <a:lnTo>
                    <a:pt x="458" y="32"/>
                  </a:lnTo>
                  <a:lnTo>
                    <a:pt x="467" y="43"/>
                  </a:lnTo>
                  <a:lnTo>
                    <a:pt x="476" y="56"/>
                  </a:lnTo>
                  <a:lnTo>
                    <a:pt x="482" y="69"/>
                  </a:lnTo>
                  <a:lnTo>
                    <a:pt x="487" y="83"/>
                  </a:lnTo>
                  <a:lnTo>
                    <a:pt x="491" y="99"/>
                  </a:lnTo>
                  <a:lnTo>
                    <a:pt x="494" y="116"/>
                  </a:lnTo>
                  <a:lnTo>
                    <a:pt x="496" y="137"/>
                  </a:lnTo>
                  <a:lnTo>
                    <a:pt x="498" y="161"/>
                  </a:lnTo>
                  <a:lnTo>
                    <a:pt x="499" y="190"/>
                  </a:lnTo>
                  <a:lnTo>
                    <a:pt x="499" y="221"/>
                  </a:lnTo>
                  <a:lnTo>
                    <a:pt x="499" y="250"/>
                  </a:lnTo>
                  <a:lnTo>
                    <a:pt x="498" y="276"/>
                  </a:lnTo>
                  <a:lnTo>
                    <a:pt x="496" y="300"/>
                  </a:lnTo>
                  <a:lnTo>
                    <a:pt x="493" y="323"/>
                  </a:lnTo>
                  <a:lnTo>
                    <a:pt x="489" y="343"/>
                  </a:lnTo>
                  <a:lnTo>
                    <a:pt x="485" y="361"/>
                  </a:lnTo>
                  <a:lnTo>
                    <a:pt x="480" y="378"/>
                  </a:lnTo>
                  <a:lnTo>
                    <a:pt x="472" y="391"/>
                  </a:lnTo>
                  <a:lnTo>
                    <a:pt x="465" y="403"/>
                  </a:lnTo>
                  <a:lnTo>
                    <a:pt x="457" y="413"/>
                  </a:lnTo>
                  <a:lnTo>
                    <a:pt x="448" y="422"/>
                  </a:lnTo>
                  <a:lnTo>
                    <a:pt x="438" y="430"/>
                  </a:lnTo>
                  <a:lnTo>
                    <a:pt x="426" y="435"/>
                  </a:lnTo>
                  <a:lnTo>
                    <a:pt x="414" y="439"/>
                  </a:lnTo>
                  <a:lnTo>
                    <a:pt x="399" y="441"/>
                  </a:lnTo>
                  <a:lnTo>
                    <a:pt x="385" y="442"/>
                  </a:lnTo>
                  <a:lnTo>
                    <a:pt x="370" y="441"/>
                  </a:lnTo>
                  <a:lnTo>
                    <a:pt x="356" y="439"/>
                  </a:lnTo>
                  <a:lnTo>
                    <a:pt x="343" y="435"/>
                  </a:lnTo>
                  <a:lnTo>
                    <a:pt x="330" y="430"/>
                  </a:lnTo>
                  <a:lnTo>
                    <a:pt x="319" y="422"/>
                  </a:lnTo>
                  <a:lnTo>
                    <a:pt x="310" y="414"/>
                  </a:lnTo>
                  <a:lnTo>
                    <a:pt x="301" y="404"/>
                  </a:lnTo>
                  <a:lnTo>
                    <a:pt x="294" y="392"/>
                  </a:lnTo>
                  <a:lnTo>
                    <a:pt x="288" y="379"/>
                  </a:lnTo>
                  <a:lnTo>
                    <a:pt x="283" y="362"/>
                  </a:lnTo>
                  <a:lnTo>
                    <a:pt x="278" y="345"/>
                  </a:lnTo>
                  <a:lnTo>
                    <a:pt x="274" y="325"/>
                  </a:lnTo>
                  <a:lnTo>
                    <a:pt x="271" y="301"/>
                  </a:lnTo>
                  <a:lnTo>
                    <a:pt x="269" y="277"/>
                  </a:lnTo>
                  <a:lnTo>
                    <a:pt x="268" y="250"/>
                  </a:lnTo>
                  <a:lnTo>
                    <a:pt x="268" y="220"/>
                  </a:lnTo>
                  <a:close/>
                  <a:moveTo>
                    <a:pt x="660" y="433"/>
                  </a:moveTo>
                  <a:lnTo>
                    <a:pt x="660" y="116"/>
                  </a:lnTo>
                  <a:lnTo>
                    <a:pt x="569" y="116"/>
                  </a:lnTo>
                  <a:lnTo>
                    <a:pt x="569" y="80"/>
                  </a:lnTo>
                  <a:lnTo>
                    <a:pt x="574" y="80"/>
                  </a:lnTo>
                  <a:lnTo>
                    <a:pt x="585" y="80"/>
                  </a:lnTo>
                  <a:lnTo>
                    <a:pt x="595" y="79"/>
                  </a:lnTo>
                  <a:lnTo>
                    <a:pt x="605" y="77"/>
                  </a:lnTo>
                  <a:lnTo>
                    <a:pt x="614" y="75"/>
                  </a:lnTo>
                  <a:lnTo>
                    <a:pt x="623" y="73"/>
                  </a:lnTo>
                  <a:lnTo>
                    <a:pt x="630" y="69"/>
                  </a:lnTo>
                  <a:lnTo>
                    <a:pt x="637" y="65"/>
                  </a:lnTo>
                  <a:lnTo>
                    <a:pt x="643" y="61"/>
                  </a:lnTo>
                  <a:lnTo>
                    <a:pt x="648" y="55"/>
                  </a:lnTo>
                  <a:lnTo>
                    <a:pt x="653" y="49"/>
                  </a:lnTo>
                  <a:lnTo>
                    <a:pt x="657" y="42"/>
                  </a:lnTo>
                  <a:lnTo>
                    <a:pt x="661" y="35"/>
                  </a:lnTo>
                  <a:lnTo>
                    <a:pt x="663" y="28"/>
                  </a:lnTo>
                  <a:lnTo>
                    <a:pt x="666" y="19"/>
                  </a:lnTo>
                  <a:lnTo>
                    <a:pt x="667" y="10"/>
                  </a:lnTo>
                  <a:lnTo>
                    <a:pt x="668" y="0"/>
                  </a:lnTo>
                  <a:lnTo>
                    <a:pt x="706" y="0"/>
                  </a:lnTo>
                  <a:lnTo>
                    <a:pt x="706" y="433"/>
                  </a:lnTo>
                  <a:lnTo>
                    <a:pt x="660" y="4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Freeform 37"/>
            <p:cNvSpPr>
              <a:spLocks/>
            </p:cNvSpPr>
            <p:nvPr/>
          </p:nvSpPr>
          <p:spPr bwMode="auto">
            <a:xfrm>
              <a:off x="6257926" y="3271838"/>
              <a:ext cx="53975" cy="171450"/>
            </a:xfrm>
            <a:custGeom>
              <a:avLst/>
              <a:gdLst>
                <a:gd name="T0" fmla="*/ 91 w 137"/>
                <a:gd name="T1" fmla="*/ 433 h 433"/>
                <a:gd name="T2" fmla="*/ 91 w 137"/>
                <a:gd name="T3" fmla="*/ 116 h 433"/>
                <a:gd name="T4" fmla="*/ 0 w 137"/>
                <a:gd name="T5" fmla="*/ 116 h 433"/>
                <a:gd name="T6" fmla="*/ 0 w 137"/>
                <a:gd name="T7" fmla="*/ 80 h 433"/>
                <a:gd name="T8" fmla="*/ 5 w 137"/>
                <a:gd name="T9" fmla="*/ 80 h 433"/>
                <a:gd name="T10" fmla="*/ 16 w 137"/>
                <a:gd name="T11" fmla="*/ 80 h 433"/>
                <a:gd name="T12" fmla="*/ 27 w 137"/>
                <a:gd name="T13" fmla="*/ 79 h 433"/>
                <a:gd name="T14" fmla="*/ 36 w 137"/>
                <a:gd name="T15" fmla="*/ 77 h 433"/>
                <a:gd name="T16" fmla="*/ 45 w 137"/>
                <a:gd name="T17" fmla="*/ 75 h 433"/>
                <a:gd name="T18" fmla="*/ 53 w 137"/>
                <a:gd name="T19" fmla="*/ 73 h 433"/>
                <a:gd name="T20" fmla="*/ 61 w 137"/>
                <a:gd name="T21" fmla="*/ 69 h 433"/>
                <a:gd name="T22" fmla="*/ 68 w 137"/>
                <a:gd name="T23" fmla="*/ 65 h 433"/>
                <a:gd name="T24" fmla="*/ 74 w 137"/>
                <a:gd name="T25" fmla="*/ 61 h 433"/>
                <a:gd name="T26" fmla="*/ 80 w 137"/>
                <a:gd name="T27" fmla="*/ 55 h 433"/>
                <a:gd name="T28" fmla="*/ 84 w 137"/>
                <a:gd name="T29" fmla="*/ 49 h 433"/>
                <a:gd name="T30" fmla="*/ 88 w 137"/>
                <a:gd name="T31" fmla="*/ 42 h 433"/>
                <a:gd name="T32" fmla="*/ 92 w 137"/>
                <a:gd name="T33" fmla="*/ 35 h 433"/>
                <a:gd name="T34" fmla="*/ 95 w 137"/>
                <a:gd name="T35" fmla="*/ 28 h 433"/>
                <a:gd name="T36" fmla="*/ 97 w 137"/>
                <a:gd name="T37" fmla="*/ 19 h 433"/>
                <a:gd name="T38" fmla="*/ 98 w 137"/>
                <a:gd name="T39" fmla="*/ 10 h 433"/>
                <a:gd name="T40" fmla="*/ 99 w 137"/>
                <a:gd name="T41" fmla="*/ 0 h 433"/>
                <a:gd name="T42" fmla="*/ 137 w 137"/>
                <a:gd name="T43" fmla="*/ 0 h 433"/>
                <a:gd name="T44" fmla="*/ 137 w 137"/>
                <a:gd name="T45" fmla="*/ 433 h 433"/>
                <a:gd name="T46" fmla="*/ 91 w 137"/>
                <a:gd name="T4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7" h="433">
                  <a:moveTo>
                    <a:pt x="91" y="433"/>
                  </a:moveTo>
                  <a:lnTo>
                    <a:pt x="91" y="116"/>
                  </a:lnTo>
                  <a:lnTo>
                    <a:pt x="0" y="116"/>
                  </a:lnTo>
                  <a:lnTo>
                    <a:pt x="0" y="80"/>
                  </a:lnTo>
                  <a:lnTo>
                    <a:pt x="5" y="80"/>
                  </a:lnTo>
                  <a:lnTo>
                    <a:pt x="16" y="80"/>
                  </a:lnTo>
                  <a:lnTo>
                    <a:pt x="27" y="79"/>
                  </a:lnTo>
                  <a:lnTo>
                    <a:pt x="36" y="77"/>
                  </a:lnTo>
                  <a:lnTo>
                    <a:pt x="45" y="75"/>
                  </a:lnTo>
                  <a:lnTo>
                    <a:pt x="53" y="73"/>
                  </a:lnTo>
                  <a:lnTo>
                    <a:pt x="61" y="69"/>
                  </a:lnTo>
                  <a:lnTo>
                    <a:pt x="68" y="65"/>
                  </a:lnTo>
                  <a:lnTo>
                    <a:pt x="74" y="61"/>
                  </a:lnTo>
                  <a:lnTo>
                    <a:pt x="80" y="55"/>
                  </a:lnTo>
                  <a:lnTo>
                    <a:pt x="84" y="49"/>
                  </a:lnTo>
                  <a:lnTo>
                    <a:pt x="88" y="42"/>
                  </a:lnTo>
                  <a:lnTo>
                    <a:pt x="92" y="35"/>
                  </a:lnTo>
                  <a:lnTo>
                    <a:pt x="95" y="28"/>
                  </a:lnTo>
                  <a:lnTo>
                    <a:pt x="97" y="19"/>
                  </a:lnTo>
                  <a:lnTo>
                    <a:pt x="98" y="10"/>
                  </a:lnTo>
                  <a:lnTo>
                    <a:pt x="99" y="0"/>
                  </a:lnTo>
                  <a:lnTo>
                    <a:pt x="137" y="0"/>
                  </a:lnTo>
                  <a:lnTo>
                    <a:pt x="137" y="433"/>
                  </a:lnTo>
                  <a:lnTo>
                    <a:pt x="91" y="433"/>
                  </a:lnTo>
                  <a:close/>
                </a:path>
              </a:pathLst>
            </a:custGeom>
            <a:grpFill/>
            <a:ln w="4">
              <a:solidFill>
                <a:srgbClr val="3BB3C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Freeform 38"/>
            <p:cNvSpPr>
              <a:spLocks/>
            </p:cNvSpPr>
            <p:nvPr/>
          </p:nvSpPr>
          <p:spPr bwMode="auto">
            <a:xfrm>
              <a:off x="6383338" y="3289300"/>
              <a:ext cx="53975" cy="141288"/>
            </a:xfrm>
            <a:custGeom>
              <a:avLst/>
              <a:gdLst>
                <a:gd name="T0" fmla="*/ 0 w 133"/>
                <a:gd name="T1" fmla="*/ 203 h 358"/>
                <a:gd name="T2" fmla="*/ 2 w 133"/>
                <a:gd name="T3" fmla="*/ 246 h 358"/>
                <a:gd name="T4" fmla="*/ 5 w 133"/>
                <a:gd name="T5" fmla="*/ 282 h 358"/>
                <a:gd name="T6" fmla="*/ 11 w 133"/>
                <a:gd name="T7" fmla="*/ 309 h 358"/>
                <a:gd name="T8" fmla="*/ 19 w 133"/>
                <a:gd name="T9" fmla="*/ 329 h 358"/>
                <a:gd name="T10" fmla="*/ 29 w 133"/>
                <a:gd name="T11" fmla="*/ 343 h 358"/>
                <a:gd name="T12" fmla="*/ 42 w 133"/>
                <a:gd name="T13" fmla="*/ 353 h 358"/>
                <a:gd name="T14" fmla="*/ 58 w 133"/>
                <a:gd name="T15" fmla="*/ 357 h 358"/>
                <a:gd name="T16" fmla="*/ 75 w 133"/>
                <a:gd name="T17" fmla="*/ 357 h 358"/>
                <a:gd name="T18" fmla="*/ 92 w 133"/>
                <a:gd name="T19" fmla="*/ 353 h 358"/>
                <a:gd name="T20" fmla="*/ 105 w 133"/>
                <a:gd name="T21" fmla="*/ 344 h 358"/>
                <a:gd name="T22" fmla="*/ 115 w 133"/>
                <a:gd name="T23" fmla="*/ 332 h 358"/>
                <a:gd name="T24" fmla="*/ 122 w 133"/>
                <a:gd name="T25" fmla="*/ 313 h 358"/>
                <a:gd name="T26" fmla="*/ 127 w 133"/>
                <a:gd name="T27" fmla="*/ 287 h 358"/>
                <a:gd name="T28" fmla="*/ 131 w 133"/>
                <a:gd name="T29" fmla="*/ 250 h 358"/>
                <a:gd name="T30" fmla="*/ 132 w 133"/>
                <a:gd name="T31" fmla="*/ 205 h 358"/>
                <a:gd name="T32" fmla="*/ 132 w 133"/>
                <a:gd name="T33" fmla="*/ 153 h 358"/>
                <a:gd name="T34" fmla="*/ 131 w 133"/>
                <a:gd name="T35" fmla="*/ 109 h 358"/>
                <a:gd name="T36" fmla="*/ 127 w 133"/>
                <a:gd name="T37" fmla="*/ 74 h 358"/>
                <a:gd name="T38" fmla="*/ 121 w 133"/>
                <a:gd name="T39" fmla="*/ 47 h 358"/>
                <a:gd name="T40" fmla="*/ 114 w 133"/>
                <a:gd name="T41" fmla="*/ 29 h 358"/>
                <a:gd name="T42" fmla="*/ 104 w 133"/>
                <a:gd name="T43" fmla="*/ 14 h 358"/>
                <a:gd name="T44" fmla="*/ 91 w 133"/>
                <a:gd name="T45" fmla="*/ 5 h 358"/>
                <a:gd name="T46" fmla="*/ 75 w 133"/>
                <a:gd name="T47" fmla="*/ 1 h 358"/>
                <a:gd name="T48" fmla="*/ 57 w 133"/>
                <a:gd name="T49" fmla="*/ 0 h 358"/>
                <a:gd name="T50" fmla="*/ 42 w 133"/>
                <a:gd name="T51" fmla="*/ 5 h 358"/>
                <a:gd name="T52" fmla="*/ 29 w 133"/>
                <a:gd name="T53" fmla="*/ 14 h 358"/>
                <a:gd name="T54" fmla="*/ 19 w 133"/>
                <a:gd name="T55" fmla="*/ 28 h 358"/>
                <a:gd name="T56" fmla="*/ 11 w 133"/>
                <a:gd name="T57" fmla="*/ 46 h 358"/>
                <a:gd name="T58" fmla="*/ 5 w 133"/>
                <a:gd name="T59" fmla="*/ 72 h 358"/>
                <a:gd name="T60" fmla="*/ 2 w 133"/>
                <a:gd name="T61" fmla="*/ 107 h 358"/>
                <a:gd name="T62" fmla="*/ 0 w 133"/>
                <a:gd name="T63" fmla="*/ 15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3" h="358">
                  <a:moveTo>
                    <a:pt x="0" y="177"/>
                  </a:moveTo>
                  <a:lnTo>
                    <a:pt x="0" y="203"/>
                  </a:lnTo>
                  <a:lnTo>
                    <a:pt x="1" y="225"/>
                  </a:lnTo>
                  <a:lnTo>
                    <a:pt x="2" y="246"/>
                  </a:lnTo>
                  <a:lnTo>
                    <a:pt x="3" y="265"/>
                  </a:lnTo>
                  <a:lnTo>
                    <a:pt x="5" y="282"/>
                  </a:lnTo>
                  <a:lnTo>
                    <a:pt x="8" y="296"/>
                  </a:lnTo>
                  <a:lnTo>
                    <a:pt x="11" y="309"/>
                  </a:lnTo>
                  <a:lnTo>
                    <a:pt x="14" y="319"/>
                  </a:lnTo>
                  <a:lnTo>
                    <a:pt x="19" y="329"/>
                  </a:lnTo>
                  <a:lnTo>
                    <a:pt x="24" y="337"/>
                  </a:lnTo>
                  <a:lnTo>
                    <a:pt x="29" y="343"/>
                  </a:lnTo>
                  <a:lnTo>
                    <a:pt x="36" y="348"/>
                  </a:lnTo>
                  <a:lnTo>
                    <a:pt x="42" y="353"/>
                  </a:lnTo>
                  <a:lnTo>
                    <a:pt x="50" y="355"/>
                  </a:lnTo>
                  <a:lnTo>
                    <a:pt x="58" y="357"/>
                  </a:lnTo>
                  <a:lnTo>
                    <a:pt x="67" y="358"/>
                  </a:lnTo>
                  <a:lnTo>
                    <a:pt x="75" y="357"/>
                  </a:lnTo>
                  <a:lnTo>
                    <a:pt x="84" y="356"/>
                  </a:lnTo>
                  <a:lnTo>
                    <a:pt x="92" y="353"/>
                  </a:lnTo>
                  <a:lnTo>
                    <a:pt x="99" y="349"/>
                  </a:lnTo>
                  <a:lnTo>
                    <a:pt x="105" y="344"/>
                  </a:lnTo>
                  <a:lnTo>
                    <a:pt x="110" y="339"/>
                  </a:lnTo>
                  <a:lnTo>
                    <a:pt x="115" y="332"/>
                  </a:lnTo>
                  <a:lnTo>
                    <a:pt x="118" y="324"/>
                  </a:lnTo>
                  <a:lnTo>
                    <a:pt x="122" y="313"/>
                  </a:lnTo>
                  <a:lnTo>
                    <a:pt x="125" y="301"/>
                  </a:lnTo>
                  <a:lnTo>
                    <a:pt x="127" y="287"/>
                  </a:lnTo>
                  <a:lnTo>
                    <a:pt x="129" y="270"/>
                  </a:lnTo>
                  <a:lnTo>
                    <a:pt x="131" y="250"/>
                  </a:lnTo>
                  <a:lnTo>
                    <a:pt x="132" y="228"/>
                  </a:lnTo>
                  <a:lnTo>
                    <a:pt x="132" y="205"/>
                  </a:lnTo>
                  <a:lnTo>
                    <a:pt x="133" y="177"/>
                  </a:lnTo>
                  <a:lnTo>
                    <a:pt x="132" y="153"/>
                  </a:lnTo>
                  <a:lnTo>
                    <a:pt x="132" y="130"/>
                  </a:lnTo>
                  <a:lnTo>
                    <a:pt x="131" y="109"/>
                  </a:lnTo>
                  <a:lnTo>
                    <a:pt x="129" y="91"/>
                  </a:lnTo>
                  <a:lnTo>
                    <a:pt x="127" y="74"/>
                  </a:lnTo>
                  <a:lnTo>
                    <a:pt x="124" y="60"/>
                  </a:lnTo>
                  <a:lnTo>
                    <a:pt x="121" y="47"/>
                  </a:lnTo>
                  <a:lnTo>
                    <a:pt x="118" y="37"/>
                  </a:lnTo>
                  <a:lnTo>
                    <a:pt x="114" y="29"/>
                  </a:lnTo>
                  <a:lnTo>
                    <a:pt x="109" y="21"/>
                  </a:lnTo>
                  <a:lnTo>
                    <a:pt x="104" y="14"/>
                  </a:lnTo>
                  <a:lnTo>
                    <a:pt x="98" y="9"/>
                  </a:lnTo>
                  <a:lnTo>
                    <a:pt x="91" y="5"/>
                  </a:lnTo>
                  <a:lnTo>
                    <a:pt x="83" y="2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9" y="2"/>
                  </a:lnTo>
                  <a:lnTo>
                    <a:pt x="42" y="5"/>
                  </a:lnTo>
                  <a:lnTo>
                    <a:pt x="35" y="9"/>
                  </a:lnTo>
                  <a:lnTo>
                    <a:pt x="29" y="14"/>
                  </a:lnTo>
                  <a:lnTo>
                    <a:pt x="23" y="21"/>
                  </a:lnTo>
                  <a:lnTo>
                    <a:pt x="19" y="28"/>
                  </a:lnTo>
                  <a:lnTo>
                    <a:pt x="14" y="36"/>
                  </a:lnTo>
                  <a:lnTo>
                    <a:pt x="11" y="46"/>
                  </a:lnTo>
                  <a:lnTo>
                    <a:pt x="8" y="57"/>
                  </a:lnTo>
                  <a:lnTo>
                    <a:pt x="5" y="72"/>
                  </a:lnTo>
                  <a:lnTo>
                    <a:pt x="3" y="89"/>
                  </a:lnTo>
                  <a:lnTo>
                    <a:pt x="2" y="107"/>
                  </a:lnTo>
                  <a:lnTo>
                    <a:pt x="0" y="128"/>
                  </a:lnTo>
                  <a:lnTo>
                    <a:pt x="0" y="152"/>
                  </a:lnTo>
                  <a:lnTo>
                    <a:pt x="0" y="177"/>
                  </a:lnTo>
                  <a:close/>
                </a:path>
              </a:pathLst>
            </a:custGeom>
            <a:grpFill/>
            <a:ln w="4">
              <a:solidFill>
                <a:srgbClr val="3BB3C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Freeform 39"/>
            <p:cNvSpPr>
              <a:spLocks/>
            </p:cNvSpPr>
            <p:nvPr/>
          </p:nvSpPr>
          <p:spPr bwMode="auto">
            <a:xfrm>
              <a:off x="6364288" y="3271838"/>
              <a:ext cx="92075" cy="174625"/>
            </a:xfrm>
            <a:custGeom>
              <a:avLst/>
              <a:gdLst>
                <a:gd name="T0" fmla="*/ 0 w 231"/>
                <a:gd name="T1" fmla="*/ 190 h 441"/>
                <a:gd name="T2" fmla="*/ 3 w 231"/>
                <a:gd name="T3" fmla="*/ 139 h 441"/>
                <a:gd name="T4" fmla="*/ 10 w 231"/>
                <a:gd name="T5" fmla="*/ 96 h 441"/>
                <a:gd name="T6" fmla="*/ 20 w 231"/>
                <a:gd name="T7" fmla="*/ 63 h 441"/>
                <a:gd name="T8" fmla="*/ 33 w 231"/>
                <a:gd name="T9" fmla="*/ 37 h 441"/>
                <a:gd name="T10" fmla="*/ 51 w 231"/>
                <a:gd name="T11" fmla="*/ 19 h 441"/>
                <a:gd name="T12" fmla="*/ 74 w 231"/>
                <a:gd name="T13" fmla="*/ 7 h 441"/>
                <a:gd name="T14" fmla="*/ 100 w 231"/>
                <a:gd name="T15" fmla="*/ 1 h 441"/>
                <a:gd name="T16" fmla="*/ 130 w 231"/>
                <a:gd name="T17" fmla="*/ 1 h 441"/>
                <a:gd name="T18" fmla="*/ 151 w 231"/>
                <a:gd name="T19" fmla="*/ 5 h 441"/>
                <a:gd name="T20" fmla="*/ 164 w 231"/>
                <a:gd name="T21" fmla="*/ 10 h 441"/>
                <a:gd name="T22" fmla="*/ 180 w 231"/>
                <a:gd name="T23" fmla="*/ 21 h 441"/>
                <a:gd name="T24" fmla="*/ 199 w 231"/>
                <a:gd name="T25" fmla="*/ 42 h 441"/>
                <a:gd name="T26" fmla="*/ 214 w 231"/>
                <a:gd name="T27" fmla="*/ 68 h 441"/>
                <a:gd name="T28" fmla="*/ 223 w 231"/>
                <a:gd name="T29" fmla="*/ 98 h 441"/>
                <a:gd name="T30" fmla="*/ 228 w 231"/>
                <a:gd name="T31" fmla="*/ 136 h 441"/>
                <a:gd name="T32" fmla="*/ 231 w 231"/>
                <a:gd name="T33" fmla="*/ 189 h 441"/>
                <a:gd name="T34" fmla="*/ 231 w 231"/>
                <a:gd name="T35" fmla="*/ 249 h 441"/>
                <a:gd name="T36" fmla="*/ 228 w 231"/>
                <a:gd name="T37" fmla="*/ 299 h 441"/>
                <a:gd name="T38" fmla="*/ 221 w 231"/>
                <a:gd name="T39" fmla="*/ 342 h 441"/>
                <a:gd name="T40" fmla="*/ 212 w 231"/>
                <a:gd name="T41" fmla="*/ 377 h 441"/>
                <a:gd name="T42" fmla="*/ 197 w 231"/>
                <a:gd name="T43" fmla="*/ 402 h 441"/>
                <a:gd name="T44" fmla="*/ 180 w 231"/>
                <a:gd name="T45" fmla="*/ 421 h 441"/>
                <a:gd name="T46" fmla="*/ 158 w 231"/>
                <a:gd name="T47" fmla="*/ 434 h 441"/>
                <a:gd name="T48" fmla="*/ 131 w 231"/>
                <a:gd name="T49" fmla="*/ 440 h 441"/>
                <a:gd name="T50" fmla="*/ 102 w 231"/>
                <a:gd name="T51" fmla="*/ 440 h 441"/>
                <a:gd name="T52" fmla="*/ 75 w 231"/>
                <a:gd name="T53" fmla="*/ 434 h 441"/>
                <a:gd name="T54" fmla="*/ 51 w 231"/>
                <a:gd name="T55" fmla="*/ 421 h 441"/>
                <a:gd name="T56" fmla="*/ 33 w 231"/>
                <a:gd name="T57" fmla="*/ 403 h 441"/>
                <a:gd name="T58" fmla="*/ 20 w 231"/>
                <a:gd name="T59" fmla="*/ 378 h 441"/>
                <a:gd name="T60" fmla="*/ 10 w 231"/>
                <a:gd name="T61" fmla="*/ 344 h 441"/>
                <a:gd name="T62" fmla="*/ 3 w 231"/>
                <a:gd name="T63" fmla="*/ 300 h 441"/>
                <a:gd name="T64" fmla="*/ 0 w 231"/>
                <a:gd name="T65" fmla="*/ 249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1" h="441">
                  <a:moveTo>
                    <a:pt x="0" y="219"/>
                  </a:moveTo>
                  <a:lnTo>
                    <a:pt x="0" y="190"/>
                  </a:lnTo>
                  <a:lnTo>
                    <a:pt x="1" y="163"/>
                  </a:lnTo>
                  <a:lnTo>
                    <a:pt x="3" y="139"/>
                  </a:lnTo>
                  <a:lnTo>
                    <a:pt x="6" y="116"/>
                  </a:lnTo>
                  <a:lnTo>
                    <a:pt x="10" y="96"/>
                  </a:lnTo>
                  <a:lnTo>
                    <a:pt x="15" y="78"/>
                  </a:lnTo>
                  <a:lnTo>
                    <a:pt x="20" y="63"/>
                  </a:lnTo>
                  <a:lnTo>
                    <a:pt x="26" y="48"/>
                  </a:lnTo>
                  <a:lnTo>
                    <a:pt x="33" y="37"/>
                  </a:lnTo>
                  <a:lnTo>
                    <a:pt x="41" y="27"/>
                  </a:lnTo>
                  <a:lnTo>
                    <a:pt x="51" y="19"/>
                  </a:lnTo>
                  <a:lnTo>
                    <a:pt x="61" y="12"/>
                  </a:lnTo>
                  <a:lnTo>
                    <a:pt x="74" y="7"/>
                  </a:lnTo>
                  <a:lnTo>
                    <a:pt x="86" y="3"/>
                  </a:lnTo>
                  <a:lnTo>
                    <a:pt x="100" y="1"/>
                  </a:lnTo>
                  <a:lnTo>
                    <a:pt x="115" y="0"/>
                  </a:lnTo>
                  <a:lnTo>
                    <a:pt x="130" y="1"/>
                  </a:lnTo>
                  <a:lnTo>
                    <a:pt x="145" y="3"/>
                  </a:lnTo>
                  <a:lnTo>
                    <a:pt x="151" y="5"/>
                  </a:lnTo>
                  <a:lnTo>
                    <a:pt x="158" y="8"/>
                  </a:lnTo>
                  <a:lnTo>
                    <a:pt x="164" y="10"/>
                  </a:lnTo>
                  <a:lnTo>
                    <a:pt x="169" y="14"/>
                  </a:lnTo>
                  <a:lnTo>
                    <a:pt x="180" y="21"/>
                  </a:lnTo>
                  <a:lnTo>
                    <a:pt x="190" y="31"/>
                  </a:lnTo>
                  <a:lnTo>
                    <a:pt x="199" y="42"/>
                  </a:lnTo>
                  <a:lnTo>
                    <a:pt x="208" y="55"/>
                  </a:lnTo>
                  <a:lnTo>
                    <a:pt x="214" y="68"/>
                  </a:lnTo>
                  <a:lnTo>
                    <a:pt x="219" y="82"/>
                  </a:lnTo>
                  <a:lnTo>
                    <a:pt x="223" y="98"/>
                  </a:lnTo>
                  <a:lnTo>
                    <a:pt x="226" y="115"/>
                  </a:lnTo>
                  <a:lnTo>
                    <a:pt x="228" y="136"/>
                  </a:lnTo>
                  <a:lnTo>
                    <a:pt x="230" y="160"/>
                  </a:lnTo>
                  <a:lnTo>
                    <a:pt x="231" y="189"/>
                  </a:lnTo>
                  <a:lnTo>
                    <a:pt x="231" y="220"/>
                  </a:lnTo>
                  <a:lnTo>
                    <a:pt x="231" y="249"/>
                  </a:lnTo>
                  <a:lnTo>
                    <a:pt x="230" y="275"/>
                  </a:lnTo>
                  <a:lnTo>
                    <a:pt x="228" y="299"/>
                  </a:lnTo>
                  <a:lnTo>
                    <a:pt x="225" y="322"/>
                  </a:lnTo>
                  <a:lnTo>
                    <a:pt x="221" y="342"/>
                  </a:lnTo>
                  <a:lnTo>
                    <a:pt x="217" y="360"/>
                  </a:lnTo>
                  <a:lnTo>
                    <a:pt x="212" y="377"/>
                  </a:lnTo>
                  <a:lnTo>
                    <a:pt x="204" y="390"/>
                  </a:lnTo>
                  <a:lnTo>
                    <a:pt x="197" y="402"/>
                  </a:lnTo>
                  <a:lnTo>
                    <a:pt x="189" y="412"/>
                  </a:lnTo>
                  <a:lnTo>
                    <a:pt x="180" y="421"/>
                  </a:lnTo>
                  <a:lnTo>
                    <a:pt x="170" y="429"/>
                  </a:lnTo>
                  <a:lnTo>
                    <a:pt x="158" y="434"/>
                  </a:lnTo>
                  <a:lnTo>
                    <a:pt x="146" y="438"/>
                  </a:lnTo>
                  <a:lnTo>
                    <a:pt x="131" y="440"/>
                  </a:lnTo>
                  <a:lnTo>
                    <a:pt x="117" y="441"/>
                  </a:lnTo>
                  <a:lnTo>
                    <a:pt x="102" y="440"/>
                  </a:lnTo>
                  <a:lnTo>
                    <a:pt x="88" y="438"/>
                  </a:lnTo>
                  <a:lnTo>
                    <a:pt x="75" y="434"/>
                  </a:lnTo>
                  <a:lnTo>
                    <a:pt x="62" y="429"/>
                  </a:lnTo>
                  <a:lnTo>
                    <a:pt x="51" y="421"/>
                  </a:lnTo>
                  <a:lnTo>
                    <a:pt x="42" y="413"/>
                  </a:lnTo>
                  <a:lnTo>
                    <a:pt x="33" y="403"/>
                  </a:lnTo>
                  <a:lnTo>
                    <a:pt x="26" y="391"/>
                  </a:lnTo>
                  <a:lnTo>
                    <a:pt x="20" y="378"/>
                  </a:lnTo>
                  <a:lnTo>
                    <a:pt x="15" y="361"/>
                  </a:lnTo>
                  <a:lnTo>
                    <a:pt x="10" y="344"/>
                  </a:lnTo>
                  <a:lnTo>
                    <a:pt x="6" y="324"/>
                  </a:lnTo>
                  <a:lnTo>
                    <a:pt x="3" y="300"/>
                  </a:lnTo>
                  <a:lnTo>
                    <a:pt x="1" y="276"/>
                  </a:lnTo>
                  <a:lnTo>
                    <a:pt x="0" y="249"/>
                  </a:lnTo>
                  <a:lnTo>
                    <a:pt x="0" y="219"/>
                  </a:lnTo>
                  <a:close/>
                </a:path>
              </a:pathLst>
            </a:custGeom>
            <a:solidFill>
              <a:schemeClr val="tx2"/>
            </a:solidFill>
            <a:ln w="4">
              <a:solidFill>
                <a:srgbClr val="3BB3C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Freeform 40"/>
            <p:cNvSpPr>
              <a:spLocks/>
            </p:cNvSpPr>
            <p:nvPr/>
          </p:nvSpPr>
          <p:spPr bwMode="auto">
            <a:xfrm>
              <a:off x="6483351" y="3271838"/>
              <a:ext cx="53975" cy="171450"/>
            </a:xfrm>
            <a:custGeom>
              <a:avLst/>
              <a:gdLst>
                <a:gd name="T0" fmla="*/ 91 w 137"/>
                <a:gd name="T1" fmla="*/ 433 h 433"/>
                <a:gd name="T2" fmla="*/ 91 w 137"/>
                <a:gd name="T3" fmla="*/ 116 h 433"/>
                <a:gd name="T4" fmla="*/ 0 w 137"/>
                <a:gd name="T5" fmla="*/ 116 h 433"/>
                <a:gd name="T6" fmla="*/ 0 w 137"/>
                <a:gd name="T7" fmla="*/ 80 h 433"/>
                <a:gd name="T8" fmla="*/ 5 w 137"/>
                <a:gd name="T9" fmla="*/ 80 h 433"/>
                <a:gd name="T10" fmla="*/ 16 w 137"/>
                <a:gd name="T11" fmla="*/ 80 h 433"/>
                <a:gd name="T12" fmla="*/ 26 w 137"/>
                <a:gd name="T13" fmla="*/ 79 h 433"/>
                <a:gd name="T14" fmla="*/ 36 w 137"/>
                <a:gd name="T15" fmla="*/ 77 h 433"/>
                <a:gd name="T16" fmla="*/ 45 w 137"/>
                <a:gd name="T17" fmla="*/ 75 h 433"/>
                <a:gd name="T18" fmla="*/ 54 w 137"/>
                <a:gd name="T19" fmla="*/ 73 h 433"/>
                <a:gd name="T20" fmla="*/ 61 w 137"/>
                <a:gd name="T21" fmla="*/ 69 h 433"/>
                <a:gd name="T22" fmla="*/ 68 w 137"/>
                <a:gd name="T23" fmla="*/ 65 h 433"/>
                <a:gd name="T24" fmla="*/ 74 w 137"/>
                <a:gd name="T25" fmla="*/ 61 h 433"/>
                <a:gd name="T26" fmla="*/ 79 w 137"/>
                <a:gd name="T27" fmla="*/ 55 h 433"/>
                <a:gd name="T28" fmla="*/ 84 w 137"/>
                <a:gd name="T29" fmla="*/ 49 h 433"/>
                <a:gd name="T30" fmla="*/ 88 w 137"/>
                <a:gd name="T31" fmla="*/ 42 h 433"/>
                <a:gd name="T32" fmla="*/ 92 w 137"/>
                <a:gd name="T33" fmla="*/ 35 h 433"/>
                <a:gd name="T34" fmla="*/ 94 w 137"/>
                <a:gd name="T35" fmla="*/ 28 h 433"/>
                <a:gd name="T36" fmla="*/ 97 w 137"/>
                <a:gd name="T37" fmla="*/ 19 h 433"/>
                <a:gd name="T38" fmla="*/ 98 w 137"/>
                <a:gd name="T39" fmla="*/ 10 h 433"/>
                <a:gd name="T40" fmla="*/ 99 w 137"/>
                <a:gd name="T41" fmla="*/ 0 h 433"/>
                <a:gd name="T42" fmla="*/ 137 w 137"/>
                <a:gd name="T43" fmla="*/ 0 h 433"/>
                <a:gd name="T44" fmla="*/ 137 w 137"/>
                <a:gd name="T45" fmla="*/ 433 h 433"/>
                <a:gd name="T46" fmla="*/ 91 w 137"/>
                <a:gd name="T4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7" h="433">
                  <a:moveTo>
                    <a:pt x="91" y="433"/>
                  </a:moveTo>
                  <a:lnTo>
                    <a:pt x="91" y="116"/>
                  </a:lnTo>
                  <a:lnTo>
                    <a:pt x="0" y="116"/>
                  </a:lnTo>
                  <a:lnTo>
                    <a:pt x="0" y="80"/>
                  </a:lnTo>
                  <a:lnTo>
                    <a:pt x="5" y="80"/>
                  </a:lnTo>
                  <a:lnTo>
                    <a:pt x="16" y="80"/>
                  </a:lnTo>
                  <a:lnTo>
                    <a:pt x="26" y="79"/>
                  </a:lnTo>
                  <a:lnTo>
                    <a:pt x="36" y="77"/>
                  </a:lnTo>
                  <a:lnTo>
                    <a:pt x="45" y="75"/>
                  </a:lnTo>
                  <a:lnTo>
                    <a:pt x="54" y="73"/>
                  </a:lnTo>
                  <a:lnTo>
                    <a:pt x="61" y="69"/>
                  </a:lnTo>
                  <a:lnTo>
                    <a:pt x="68" y="65"/>
                  </a:lnTo>
                  <a:lnTo>
                    <a:pt x="74" y="61"/>
                  </a:lnTo>
                  <a:lnTo>
                    <a:pt x="79" y="55"/>
                  </a:lnTo>
                  <a:lnTo>
                    <a:pt x="84" y="49"/>
                  </a:lnTo>
                  <a:lnTo>
                    <a:pt x="88" y="42"/>
                  </a:lnTo>
                  <a:lnTo>
                    <a:pt x="92" y="35"/>
                  </a:lnTo>
                  <a:lnTo>
                    <a:pt x="94" y="28"/>
                  </a:lnTo>
                  <a:lnTo>
                    <a:pt x="97" y="19"/>
                  </a:lnTo>
                  <a:lnTo>
                    <a:pt x="98" y="10"/>
                  </a:lnTo>
                  <a:lnTo>
                    <a:pt x="99" y="0"/>
                  </a:lnTo>
                  <a:lnTo>
                    <a:pt x="137" y="0"/>
                  </a:lnTo>
                  <a:lnTo>
                    <a:pt x="137" y="433"/>
                  </a:lnTo>
                  <a:lnTo>
                    <a:pt x="91" y="433"/>
                  </a:lnTo>
                  <a:close/>
                </a:path>
              </a:pathLst>
            </a:custGeom>
            <a:grpFill/>
            <a:ln w="4">
              <a:solidFill>
                <a:srgbClr val="3BB3C2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73" name="TextBox 2072"/>
          <p:cNvSpPr txBox="1"/>
          <p:nvPr/>
        </p:nvSpPr>
        <p:spPr>
          <a:xfrm>
            <a:off x="2284694" y="18393"/>
            <a:ext cx="5507626" cy="7694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Communication Tools  </a:t>
            </a:r>
            <a:endParaRPr lang="en-US" sz="3200" b="0" dirty="0"/>
          </a:p>
        </p:txBody>
      </p:sp>
      <p:sp>
        <p:nvSpPr>
          <p:cNvPr id="31" name="Rectangle 30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endCxn id="8" idx="1"/>
          </p:cNvCxnSpPr>
          <p:nvPr/>
        </p:nvCxnSpPr>
        <p:spPr>
          <a:xfrm flipH="1">
            <a:off x="2752882" y="609600"/>
            <a:ext cx="366280" cy="776148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2743200" y="787834"/>
            <a:ext cx="521494" cy="59170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230657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27165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066800" y="8382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 Narrow" pitchFamily="34" charset="0"/>
              </a:rPr>
              <a:t/>
            </a:r>
            <a:br>
              <a:rPr lang="en-US" dirty="0">
                <a:latin typeface="Arial Narrow" pitchFamily="34" charset="0"/>
              </a:rPr>
            </a:br>
            <a:r>
              <a:rPr lang="en-US" sz="3600" b="1" dirty="0">
                <a:latin typeface="Arial Narrow" pitchFamily="34" charset="0"/>
                <a:ea typeface="+mn-ea"/>
                <a:cs typeface="+mn-cs"/>
              </a:rPr>
              <a:t>Data Appreciation and Analysis </a:t>
            </a:r>
            <a:r>
              <a:rPr lang="en-US" dirty="0">
                <a:latin typeface="Arial Narrow" pitchFamily="34" charset="0"/>
              </a:rPr>
              <a:t/>
            </a:r>
            <a:br>
              <a:rPr lang="en-US" dirty="0">
                <a:latin typeface="Arial Narrow" pitchFamily="34" charset="0"/>
              </a:rPr>
            </a:b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447800"/>
            <a:ext cx="8229600" cy="533684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0" indent="0"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as a Value of Communication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Primary data points 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Engagement model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Analysis Tools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Understanding Data (Trend and Predictive Analysis) </a:t>
            </a:r>
          </a:p>
          <a:p>
            <a:pPr marL="0" lvl="0" indent="0">
              <a:buNone/>
            </a:pPr>
            <a:r>
              <a:rPr lang="en-US" sz="2400" dirty="0">
                <a:latin typeface="Arial Narrow" pitchFamily="34" charset="0"/>
              </a:rPr>
              <a:t>Data Sourcing </a:t>
            </a: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endParaRPr lang="en-US" sz="2800" dirty="0">
              <a:latin typeface="Arial Narrow" pitchFamily="34" charset="0"/>
            </a:endParaRPr>
          </a:p>
          <a:p>
            <a:pPr marL="0" lvl="0" indent="0">
              <a:spcBef>
                <a:spcPct val="0"/>
              </a:spcBef>
              <a:buNone/>
            </a:pPr>
            <a:r>
              <a:rPr lang="en-US" sz="2800" dirty="0">
                <a:latin typeface="Arial Narrow" pitchFamily="34" charset="0"/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684495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 Rules of Visualis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Find a Story </a:t>
            </a:r>
          </a:p>
          <a:p>
            <a:r>
              <a:rPr lang="en-US" sz="2800" dirty="0">
                <a:latin typeface="Arial Narrow" pitchFamily="34" charset="0"/>
              </a:rPr>
              <a:t>Define your Audience </a:t>
            </a:r>
          </a:p>
          <a:p>
            <a:r>
              <a:rPr lang="en-GB" sz="2800" dirty="0">
                <a:latin typeface="Arial Narrow" pitchFamily="34" charset="0"/>
              </a:rPr>
              <a:t>Be objective and offer balance.</a:t>
            </a:r>
          </a:p>
          <a:p>
            <a:r>
              <a:rPr lang="en-GB" sz="2800" dirty="0">
                <a:latin typeface="Arial Narrow" pitchFamily="34" charset="0"/>
              </a:rPr>
              <a:t>Be Inclusive in Data Approach </a:t>
            </a:r>
          </a:p>
          <a:p>
            <a:r>
              <a:rPr lang="en-GB" sz="2800" dirty="0">
                <a:latin typeface="Arial Narrow" pitchFamily="34" charset="0"/>
              </a:rPr>
              <a:t>Keep Editing and Improving </a:t>
            </a:r>
            <a:endParaRPr lang="en-US" sz="2800" dirty="0">
              <a:latin typeface="Arial Narrow" pitchFamily="34" charset="0"/>
            </a:endParaRPr>
          </a:p>
        </p:txBody>
      </p:sp>
      <p:pic>
        <p:nvPicPr>
          <p:cNvPr id="4" name="Picture 2" descr="http://www.clker.com/cliparts/s/M/i/c/5/N/fingers-md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2133600"/>
            <a:ext cx="3135962" cy="426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646151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latin typeface="Arial Narrow" pitchFamily="34" charset="0"/>
              </a:rPr>
              <a:t>The Art of Question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514350" indent="-514350">
              <a:buAutoNum type="arabicPeriod"/>
            </a:pPr>
            <a:r>
              <a:rPr lang="en-US" dirty="0">
                <a:latin typeface="Arial Narrow" pitchFamily="34" charset="0"/>
              </a:rPr>
              <a:t>Does it provoke human interactions? </a:t>
            </a:r>
          </a:p>
          <a:p>
            <a:pPr marL="514350" indent="-514350">
              <a:buAutoNum type="arabicPeriod"/>
            </a:pPr>
            <a:endParaRPr lang="en-US" dirty="0">
              <a:latin typeface="Arial Narrow" pitchFamily="34" charset="0"/>
            </a:endParaRPr>
          </a:p>
          <a:p>
            <a:pPr marL="514350" indent="-514350">
              <a:buAutoNum type="arabicPeriod"/>
            </a:pPr>
            <a:r>
              <a:rPr lang="en-US" dirty="0">
                <a:latin typeface="Arial Narrow" pitchFamily="34" charset="0"/>
              </a:rPr>
              <a:t>Do it make sense and deepens knowledge? </a:t>
            </a:r>
          </a:p>
          <a:p>
            <a:pPr marL="0" indent="0">
              <a:buNone/>
            </a:pPr>
            <a:endParaRPr lang="en-US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 Narrow" pitchFamily="34" charset="0"/>
              </a:rPr>
              <a:t>2. Is it a gateway to a more detailed data? </a:t>
            </a:r>
          </a:p>
          <a:p>
            <a:pPr marL="0" indent="0">
              <a:buNone/>
            </a:pPr>
            <a:endParaRPr lang="en-US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GB" dirty="0">
                <a:latin typeface="Arial Narrow" pitchFamily="34" charset="0"/>
              </a:rPr>
              <a:t>3. A visualization does not mean substituting pictures for words but they serve as interfaces to human interactions that create new opportunities for discussion and action.</a:t>
            </a:r>
            <a:endParaRPr lang="en-US" dirty="0">
              <a:latin typeface="Arial Narrow" pitchFamily="34" charset="0"/>
            </a:endParaRPr>
          </a:p>
        </p:txBody>
      </p:sp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85544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STARTING OUT 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Source the Data </a:t>
            </a:r>
          </a:p>
          <a:p>
            <a:r>
              <a:rPr lang="en-US" sz="2800" dirty="0">
                <a:latin typeface="Arial Narrow" pitchFamily="34" charset="0"/>
              </a:rPr>
              <a:t>Define your Audience</a:t>
            </a:r>
          </a:p>
          <a:p>
            <a:r>
              <a:rPr lang="en-US" sz="2800" dirty="0">
                <a:latin typeface="Arial Narrow" pitchFamily="34" charset="0"/>
              </a:rPr>
              <a:t>Dimension Data </a:t>
            </a:r>
          </a:p>
          <a:p>
            <a:r>
              <a:rPr lang="en-US" sz="2800" dirty="0">
                <a:latin typeface="Arial Narrow" pitchFamily="34" charset="0"/>
              </a:rPr>
              <a:t>Craft your story </a:t>
            </a:r>
          </a:p>
          <a:p>
            <a:r>
              <a:rPr lang="en-US" sz="2800" dirty="0">
                <a:latin typeface="Arial Narrow" pitchFamily="34" charset="0"/>
              </a:rPr>
              <a:t>Build/Integrate with Platform </a:t>
            </a:r>
          </a:p>
          <a:p>
            <a:r>
              <a:rPr lang="en-US" sz="2800" dirty="0">
                <a:latin typeface="Arial Narrow" pitchFamily="34" charset="0"/>
              </a:rPr>
              <a:t>Develop a Feedback System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78292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DIMENSION DATA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Spreadsheets </a:t>
            </a:r>
          </a:p>
          <a:p>
            <a:r>
              <a:rPr lang="en-US" sz="2800" dirty="0">
                <a:latin typeface="Arial Narrow" pitchFamily="34" charset="0"/>
              </a:rPr>
              <a:t>Fusion Tables </a:t>
            </a:r>
          </a:p>
          <a:p>
            <a:r>
              <a:rPr lang="en-US" sz="2800" dirty="0">
                <a:latin typeface="Arial Narrow" pitchFamily="34" charset="0"/>
              </a:rPr>
              <a:t>Graphs </a:t>
            </a:r>
          </a:p>
          <a:p>
            <a:r>
              <a:rPr lang="en-US" sz="2800" dirty="0">
                <a:latin typeface="Arial Narrow" pitchFamily="34" charset="0"/>
              </a:rPr>
              <a:t>Tableau </a:t>
            </a:r>
          </a:p>
          <a:p>
            <a:r>
              <a:rPr lang="en-US" sz="2800" dirty="0" err="1">
                <a:latin typeface="Arial Narrow" pitchFamily="34" charset="0"/>
              </a:rPr>
              <a:t>DataWrapper</a:t>
            </a:r>
            <a:endParaRPr lang="en-US" sz="2800" dirty="0">
              <a:latin typeface="Arial Narrow" pitchFamily="34" charset="0"/>
            </a:endParaRPr>
          </a:p>
          <a:p>
            <a:r>
              <a:rPr lang="en-US" sz="2800" dirty="0">
                <a:latin typeface="Arial Narrow" pitchFamily="34" charset="0"/>
              </a:rPr>
              <a:t>Map Tools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212514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15401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CRAFT YOUR STOR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Find Insight</a:t>
            </a:r>
          </a:p>
          <a:p>
            <a:r>
              <a:rPr lang="en-US" sz="2800" dirty="0">
                <a:latin typeface="Arial Narrow" pitchFamily="34" charset="0"/>
              </a:rPr>
              <a:t>Lead not Control the Narrative </a:t>
            </a:r>
          </a:p>
          <a:p>
            <a:r>
              <a:rPr lang="en-US" sz="2800" dirty="0">
                <a:latin typeface="Arial Narrow" pitchFamily="34" charset="0"/>
              </a:rPr>
              <a:t>Predictive Analysis </a:t>
            </a:r>
          </a:p>
          <a:p>
            <a:r>
              <a:rPr lang="en-US" sz="2800" dirty="0">
                <a:latin typeface="Arial Narrow" pitchFamily="34" charset="0"/>
              </a:rPr>
              <a:t>Trend Analysis </a:t>
            </a:r>
          </a:p>
          <a:p>
            <a:r>
              <a:rPr lang="en-US" sz="2800" dirty="0">
                <a:latin typeface="Arial Narrow" pitchFamily="34" charset="0"/>
              </a:rPr>
              <a:t>Peer Comparison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24143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286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infogr.am </a:t>
            </a:r>
          </a:p>
        </p:txBody>
      </p:sp>
      <p:pic>
        <p:nvPicPr>
          <p:cNvPr id="6146" name="Picture 2" descr="C:\Users\budgIT\Desktop\Capture7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676964"/>
            <a:ext cx="5181600" cy="5591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7150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34713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budgIT\Desktop\CHILDNOTBRID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897" y="874764"/>
            <a:ext cx="8362205" cy="5907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The Picture &amp; the Data</a:t>
            </a:r>
          </a:p>
        </p:txBody>
      </p:sp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152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657334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1553499"/>
              </p:ext>
            </p:extLst>
          </p:nvPr>
        </p:nvGraphicFramePr>
        <p:xfrm>
          <a:off x="762000" y="1371600"/>
          <a:ext cx="7467600" cy="391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b="1" dirty="0">
                <a:latin typeface="Arial Narrow" pitchFamily="34" charset="0"/>
              </a:rPr>
              <a:t>Bar Chart : Trends and Item Comparis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14400" y="5257800"/>
            <a:ext cx="2395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Arial Narrow" pitchFamily="34" charset="0"/>
              </a:defRPr>
            </a:lvl1pPr>
          </a:lstStyle>
          <a:p>
            <a:r>
              <a:rPr lang="en-US" sz="1400" dirty="0"/>
              <a:t>Source: INEC, BudgIT Research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5791200"/>
            <a:ext cx="80010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err="1"/>
              <a:t>Xxxxxx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99236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631513384"/>
              </p:ext>
            </p:extLst>
          </p:nvPr>
        </p:nvGraphicFramePr>
        <p:xfrm>
          <a:off x="800100" y="152400"/>
          <a:ext cx="75438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2400" y="5570786"/>
            <a:ext cx="88392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yo-NG" b="1" dirty="0">
                <a:latin typeface="Arial Narrow" pitchFamily="34" charset="0"/>
              </a:rPr>
              <a:t>After the exit of Nigeria fro</a:t>
            </a:r>
            <a:r>
              <a:rPr lang="en-US" b="1" dirty="0">
                <a:latin typeface="Arial Narrow" pitchFamily="34" charset="0"/>
              </a:rPr>
              <a:t>m the Paris Club, amount used in servicing Nigeria’s external debt dropped . However, domestic debt service has risen with the appetite of Nigerian government for domestic bonds and treasury bills.</a:t>
            </a:r>
            <a:endParaRPr lang="yo-NG" b="1" dirty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5800" y="5257800"/>
            <a:ext cx="2438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yo-NG" sz="1050" b="1" dirty="0"/>
              <a:t>Source: Federal Ministry of Finance </a:t>
            </a:r>
          </a:p>
        </p:txBody>
      </p:sp>
      <p:sp>
        <p:nvSpPr>
          <p:cNvPr id="2" name="Rectangle 1"/>
          <p:cNvSpPr/>
          <p:nvPr/>
        </p:nvSpPr>
        <p:spPr>
          <a:xfrm>
            <a:off x="-228600" y="-76200"/>
            <a:ext cx="9829800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2400" b="1" dirty="0">
                <a:latin typeface="Arial Narrow" pitchFamily="34" charset="0"/>
                <a:ea typeface="+mj-ea"/>
                <a:cs typeface="+mj-cs"/>
              </a:rPr>
              <a:t>Line Graphs: The relationship between two types of information</a:t>
            </a:r>
            <a:endParaRPr lang="en-US" sz="2400" b="1" dirty="0">
              <a:latin typeface="Arial Narrow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62545546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934630854"/>
              </p:ext>
            </p:extLst>
          </p:nvPr>
        </p:nvGraphicFramePr>
        <p:xfrm>
          <a:off x="1295400" y="1621809"/>
          <a:ext cx="66294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-304800" y="-76200"/>
            <a:ext cx="9525000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2800" b="1"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ie Chart: </a:t>
            </a:r>
            <a:r>
              <a:rPr lang="en-GB" dirty="0"/>
              <a:t>Compare Parts of the whole. </a:t>
            </a:r>
            <a:endParaRPr lang="yo-NG" dirty="0"/>
          </a:p>
        </p:txBody>
      </p:sp>
      <p:sp>
        <p:nvSpPr>
          <p:cNvPr id="8" name="TextBox 7"/>
          <p:cNvSpPr txBox="1"/>
          <p:nvPr/>
        </p:nvSpPr>
        <p:spPr>
          <a:xfrm>
            <a:off x="457200" y="5791200"/>
            <a:ext cx="80010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err="1"/>
              <a:t>Xxxxxx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85800" y="5257800"/>
            <a:ext cx="2438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yo-NG" sz="1050" b="1" dirty="0"/>
              <a:t>Source: Federal Ministry of Finance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24200" y="886781"/>
            <a:ext cx="35333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itchFamily="34" charset="0"/>
              </a:rPr>
              <a:t>Nigeria Uncompleted Projects</a:t>
            </a:r>
          </a:p>
        </p:txBody>
      </p:sp>
    </p:spTree>
    <p:extLst>
      <p:ext uri="{BB962C8B-B14F-4D97-AF65-F5344CB8AC3E}">
        <p14:creationId xmlns:p14="http://schemas.microsoft.com/office/powerpoint/2010/main" val="4278817331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b="1" dirty="0">
                <a:latin typeface="Arial Narrow" pitchFamily="34" charset="0"/>
              </a:rPr>
              <a:t>What is Data?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4525963"/>
          </a:xfrm>
        </p:spPr>
        <p:txBody>
          <a:bodyPr>
            <a:normAutofit fontScale="85000" lnSpcReduction="10000"/>
          </a:bodyPr>
          <a:lstStyle/>
          <a:p>
            <a:pPr marL="0" indent="0" algn="just">
              <a:buNone/>
            </a:pPr>
            <a:r>
              <a:rPr lang="en-US" sz="2400" dirty="0">
                <a:latin typeface="Arial Narrow" pitchFamily="34" charset="0"/>
              </a:rPr>
              <a:t>In class context, we adopt the definition of</a:t>
            </a:r>
            <a:r>
              <a:rPr lang="en-GB" sz="2400" dirty="0">
                <a:latin typeface="Arial Narrow" pitchFamily="34" charset="0"/>
              </a:rPr>
              <a:t>:</a:t>
            </a:r>
          </a:p>
          <a:p>
            <a:pPr marL="0" indent="0" algn="just">
              <a:buNone/>
            </a:pPr>
            <a:r>
              <a:rPr lang="en-GB" sz="2400" b="1" i="1" dirty="0">
                <a:latin typeface="Arial Narrow" pitchFamily="34" charset="0"/>
              </a:rPr>
              <a:t>“ (Hidden) factual information (as measurements or statistics)  that can be used as basis for reasoning, discussion, or calculation” or </a:t>
            </a:r>
          </a:p>
          <a:p>
            <a:pPr marL="0" indent="0" algn="just">
              <a:buNone/>
            </a:pPr>
            <a:endParaRPr lang="en-GB" sz="2400" b="1" i="1" dirty="0">
              <a:latin typeface="Arial Narrow" pitchFamily="34" charset="0"/>
            </a:endParaRPr>
          </a:p>
          <a:p>
            <a:pPr marL="0" indent="0" algn="just">
              <a:buNone/>
            </a:pPr>
            <a:r>
              <a:rPr lang="en-GB" sz="2400" b="1" i="1" dirty="0">
                <a:latin typeface="Arial Narrow" pitchFamily="34" charset="0"/>
              </a:rPr>
              <a:t>“a collection of facts from which conclusions may be drawn”</a:t>
            </a:r>
          </a:p>
          <a:p>
            <a:pPr marL="0" indent="0" algn="just">
              <a:buNone/>
            </a:pPr>
            <a:endParaRPr lang="en-GB" sz="2400" b="1" i="1" dirty="0">
              <a:latin typeface="Arial Narrow" pitchFamily="34" charset="0"/>
            </a:endParaRPr>
          </a:p>
          <a:p>
            <a:pPr algn="just"/>
            <a:r>
              <a:rPr lang="en-GB" sz="2400" dirty="0">
                <a:latin typeface="Arial Narrow" pitchFamily="34" charset="0"/>
              </a:rPr>
              <a:t>Data  is not only in numbers, it is a signal to presented in a form  that can assessed to make lead a discussion or provide guide decision towards a specific action.</a:t>
            </a:r>
          </a:p>
          <a:p>
            <a:pPr algn="just"/>
            <a:endParaRPr lang="en-GB" sz="2400" dirty="0">
              <a:latin typeface="Arial Narrow" pitchFamily="34" charset="0"/>
            </a:endParaRPr>
          </a:p>
          <a:p>
            <a:pPr algn="just"/>
            <a:r>
              <a:rPr lang="en-GB" sz="2400" dirty="0">
                <a:latin typeface="Arial Narrow" pitchFamily="34" charset="0"/>
              </a:rPr>
              <a:t>Data is the value for communication and informed decisions. It is the raw material where information can be obtained. </a:t>
            </a:r>
          </a:p>
          <a:p>
            <a:pPr algn="just"/>
            <a:endParaRPr lang="en-GB" sz="2400" dirty="0">
              <a:latin typeface="Arial Narrow" pitchFamily="34" charset="0"/>
            </a:endParaRPr>
          </a:p>
          <a:p>
            <a:pPr algn="just"/>
            <a:r>
              <a:rPr lang="en-GB" sz="2400" dirty="0">
                <a:latin typeface="Arial Narrow" pitchFamily="34" charset="0"/>
              </a:rPr>
              <a:t>The data could be in the form of numbers, words, pictures, maps, and even newspaper articles.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34334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4.0 Data Publishing and Communication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dirty="0">
                <a:latin typeface="Arial Narrow" pitchFamily="34" charset="0"/>
              </a:rPr>
              <a:t>Effective Use Graphs &amp; Charts </a:t>
            </a:r>
          </a:p>
          <a:p>
            <a:pPr marL="0" lvl="0" indent="0">
              <a:buNone/>
            </a:pPr>
            <a:r>
              <a:rPr lang="en-US" dirty="0">
                <a:latin typeface="Arial Narrow" pitchFamily="34" charset="0"/>
              </a:rPr>
              <a:t>Object linked representations </a:t>
            </a:r>
          </a:p>
          <a:p>
            <a:pPr marL="0" lvl="0" indent="0">
              <a:buNone/>
            </a:pPr>
            <a:r>
              <a:rPr lang="en-US" dirty="0">
                <a:latin typeface="Arial Narrow" pitchFamily="34" charset="0"/>
              </a:rPr>
              <a:t>Simple Infographics  Samples using Microsoft PowerPoint </a:t>
            </a:r>
          </a:p>
          <a:p>
            <a:pPr marL="0" lvl="0" indent="0">
              <a:buNone/>
            </a:pPr>
            <a:r>
              <a:rPr lang="en-US" dirty="0">
                <a:latin typeface="Arial Narrow" pitchFamily="34" charset="0"/>
              </a:rPr>
              <a:t>Course Evaluation</a:t>
            </a:r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475184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562600"/>
          </a:xfrm>
        </p:spPr>
        <p:txBody>
          <a:bodyPr>
            <a:normAutofit/>
          </a:bodyPr>
          <a:lstStyle/>
          <a:p>
            <a:pPr marL="274320" lvl="1" indent="-274320" algn="just">
              <a:buClr>
                <a:schemeClr val="accent3"/>
              </a:buClr>
              <a:buSzPct val="95000"/>
            </a:pPr>
            <a:r>
              <a:rPr lang="en-US" b="1" u="sng" dirty="0">
                <a:latin typeface="Arial Narrow" pitchFamily="34" charset="0"/>
                <a:cs typeface="Times New Roman" pitchFamily="18" charset="0"/>
              </a:rPr>
              <a:t>Further on Capital  Expenditure </a:t>
            </a:r>
            <a:r>
              <a:rPr lang="en-US" dirty="0">
                <a:latin typeface="Arial Narrow" pitchFamily="34" charset="0"/>
                <a:cs typeface="Times New Roman" pitchFamily="18" charset="0"/>
              </a:rPr>
              <a:t>: </a:t>
            </a:r>
            <a:r>
              <a:rPr lang="en-US" sz="2000" dirty="0">
                <a:latin typeface="Arial Narrow" pitchFamily="34" charset="0"/>
                <a:cs typeface="Times New Roman" pitchFamily="18" charset="0"/>
              </a:rPr>
              <a:t>Large Number of Uncompleted Projects estimated at N8.4 Trillion. Unpaid liabilities of MDAs to contractors in 2010 alone are over N200bn.</a:t>
            </a:r>
          </a:p>
          <a:p>
            <a:pPr marL="274320" lvl="1" indent="-274320">
              <a:buClr>
                <a:schemeClr val="accent3"/>
              </a:buClr>
              <a:buSzPct val="95000"/>
            </a:pPr>
            <a:endParaRPr lang="en-US" i="1" dirty="0">
              <a:latin typeface="Times New Roman" pitchFamily="18" charset="0"/>
              <a:cs typeface="Times New Roman" pitchFamily="18" charset="0"/>
            </a:endParaRPr>
          </a:p>
          <a:p>
            <a:pPr lvl="1">
              <a:lnSpc>
                <a:spcPct val="150000"/>
              </a:lnSpc>
              <a:buFont typeface="Wingdings" pitchFamily="2" charset="2"/>
              <a:buChar char="§"/>
            </a:pPr>
            <a:endParaRPr lang="en-US" i="1" dirty="0">
              <a:latin typeface="Times New Roman" pitchFamily="18" charset="0"/>
              <a:cs typeface="Times New Roman" pitchFamily="18" charset="0"/>
            </a:endParaRPr>
          </a:p>
          <a:p>
            <a:pPr lvl="1">
              <a:buNone/>
            </a:pPr>
            <a:endParaRPr lang="en-US" sz="2800" i="1" dirty="0">
              <a:latin typeface="Times New Roman" pitchFamily="18" charset="0"/>
              <a:cs typeface="Times New Roman" pitchFamily="18" charset="0"/>
            </a:endParaRPr>
          </a:p>
          <a:p>
            <a:pPr lvl="1">
              <a:buNone/>
            </a:pPr>
            <a:endParaRPr lang="en-US" sz="2800" i="1" dirty="0">
              <a:latin typeface="Times New Roman" pitchFamily="18" charset="0"/>
              <a:cs typeface="Times New Roman" pitchFamily="18" charset="0"/>
            </a:endParaRPr>
          </a:p>
          <a:p>
            <a:pPr lvl="1">
              <a:buNone/>
            </a:pP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en-US" dirty="0"/>
          </a:p>
        </p:txBody>
      </p:sp>
      <p:grpSp>
        <p:nvGrpSpPr>
          <p:cNvPr id="3077" name="Group 5"/>
          <p:cNvGrpSpPr>
            <a:grpSpLocks noChangeAspect="1"/>
          </p:cNvGrpSpPr>
          <p:nvPr/>
        </p:nvGrpSpPr>
        <p:grpSpPr bwMode="auto">
          <a:xfrm>
            <a:off x="685800" y="2286000"/>
            <a:ext cx="8804276" cy="3910013"/>
            <a:chOff x="432" y="1440"/>
            <a:chExt cx="5546" cy="2463"/>
          </a:xfrm>
        </p:grpSpPr>
        <p:sp>
          <p:nvSpPr>
            <p:cNvPr id="3076" name="AutoShape 4"/>
            <p:cNvSpPr>
              <a:spLocks noChangeAspect="1" noChangeArrowheads="1" noTextEdit="1"/>
            </p:cNvSpPr>
            <p:nvPr/>
          </p:nvSpPr>
          <p:spPr bwMode="auto">
            <a:xfrm>
              <a:off x="432" y="1440"/>
              <a:ext cx="5048" cy="24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grpSp>
          <p:nvGrpSpPr>
            <p:cNvPr id="3278" name="Group 206"/>
            <p:cNvGrpSpPr>
              <a:grpSpLocks/>
            </p:cNvGrpSpPr>
            <p:nvPr/>
          </p:nvGrpSpPr>
          <p:grpSpPr bwMode="auto">
            <a:xfrm>
              <a:off x="432" y="1440"/>
              <a:ext cx="5048" cy="2303"/>
              <a:chOff x="432" y="1440"/>
              <a:chExt cx="5048" cy="2303"/>
            </a:xfrm>
          </p:grpSpPr>
          <p:sp>
            <p:nvSpPr>
              <p:cNvPr id="3078" name="Rectangle 6"/>
              <p:cNvSpPr>
                <a:spLocks noChangeArrowheads="1"/>
              </p:cNvSpPr>
              <p:nvPr/>
            </p:nvSpPr>
            <p:spPr bwMode="auto">
              <a:xfrm>
                <a:off x="432" y="1440"/>
                <a:ext cx="5048" cy="352"/>
              </a:xfrm>
              <a:prstGeom prst="rect">
                <a:avLst/>
              </a:prstGeom>
              <a:solidFill>
                <a:srgbClr val="FFF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79" name="Rectangle 7"/>
              <p:cNvSpPr>
                <a:spLocks noChangeArrowheads="1"/>
              </p:cNvSpPr>
              <p:nvPr/>
            </p:nvSpPr>
            <p:spPr bwMode="auto">
              <a:xfrm>
                <a:off x="432" y="1784"/>
                <a:ext cx="5048" cy="136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0" name="Line 8"/>
              <p:cNvSpPr>
                <a:spLocks noChangeShapeType="1"/>
              </p:cNvSpPr>
              <p:nvPr/>
            </p:nvSpPr>
            <p:spPr bwMode="auto">
              <a:xfrm>
                <a:off x="4766" y="1792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1" name="Rectangle 9"/>
              <p:cNvSpPr>
                <a:spLocks noChangeArrowheads="1"/>
              </p:cNvSpPr>
              <p:nvPr/>
            </p:nvSpPr>
            <p:spPr bwMode="auto">
              <a:xfrm>
                <a:off x="4766" y="1792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2" name="Line 10"/>
              <p:cNvSpPr>
                <a:spLocks noChangeShapeType="1"/>
              </p:cNvSpPr>
              <p:nvPr/>
            </p:nvSpPr>
            <p:spPr bwMode="auto">
              <a:xfrm>
                <a:off x="4766" y="1792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3" name="Rectangle 11"/>
              <p:cNvSpPr>
                <a:spLocks noChangeArrowheads="1"/>
              </p:cNvSpPr>
              <p:nvPr/>
            </p:nvSpPr>
            <p:spPr bwMode="auto">
              <a:xfrm>
                <a:off x="4766" y="1792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4" name="Line 12"/>
              <p:cNvSpPr>
                <a:spLocks noChangeShapeType="1"/>
              </p:cNvSpPr>
              <p:nvPr/>
            </p:nvSpPr>
            <p:spPr bwMode="auto">
              <a:xfrm>
                <a:off x="4766" y="1800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5" name="Rectangle 13"/>
              <p:cNvSpPr>
                <a:spLocks noChangeArrowheads="1"/>
              </p:cNvSpPr>
              <p:nvPr/>
            </p:nvSpPr>
            <p:spPr bwMode="auto">
              <a:xfrm>
                <a:off x="4766" y="1800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6" name="Line 14"/>
              <p:cNvSpPr>
                <a:spLocks noChangeShapeType="1"/>
              </p:cNvSpPr>
              <p:nvPr/>
            </p:nvSpPr>
            <p:spPr bwMode="auto">
              <a:xfrm>
                <a:off x="4766" y="180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7" name="Rectangle 15"/>
              <p:cNvSpPr>
                <a:spLocks noChangeArrowheads="1"/>
              </p:cNvSpPr>
              <p:nvPr/>
            </p:nvSpPr>
            <p:spPr bwMode="auto">
              <a:xfrm>
                <a:off x="4766" y="1808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8" name="Line 16"/>
              <p:cNvSpPr>
                <a:spLocks noChangeShapeType="1"/>
              </p:cNvSpPr>
              <p:nvPr/>
            </p:nvSpPr>
            <p:spPr bwMode="auto">
              <a:xfrm>
                <a:off x="4766" y="180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89" name="Rectangle 17"/>
              <p:cNvSpPr>
                <a:spLocks noChangeArrowheads="1"/>
              </p:cNvSpPr>
              <p:nvPr/>
            </p:nvSpPr>
            <p:spPr bwMode="auto">
              <a:xfrm>
                <a:off x="4766" y="1808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0" name="Rectangle 18"/>
              <p:cNvSpPr>
                <a:spLocks noChangeArrowheads="1"/>
              </p:cNvSpPr>
              <p:nvPr/>
            </p:nvSpPr>
            <p:spPr bwMode="auto">
              <a:xfrm>
                <a:off x="432" y="1912"/>
                <a:ext cx="5048" cy="136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1" name="Line 19"/>
              <p:cNvSpPr>
                <a:spLocks noChangeShapeType="1"/>
              </p:cNvSpPr>
              <p:nvPr/>
            </p:nvSpPr>
            <p:spPr bwMode="auto">
              <a:xfrm>
                <a:off x="4766" y="1920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2" name="Rectangle 20"/>
              <p:cNvSpPr>
                <a:spLocks noChangeArrowheads="1"/>
              </p:cNvSpPr>
              <p:nvPr/>
            </p:nvSpPr>
            <p:spPr bwMode="auto">
              <a:xfrm>
                <a:off x="4766" y="1920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3" name="Line 21"/>
              <p:cNvSpPr>
                <a:spLocks noChangeShapeType="1"/>
              </p:cNvSpPr>
              <p:nvPr/>
            </p:nvSpPr>
            <p:spPr bwMode="auto">
              <a:xfrm>
                <a:off x="4766" y="1920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4" name="Rectangle 22"/>
              <p:cNvSpPr>
                <a:spLocks noChangeArrowheads="1"/>
              </p:cNvSpPr>
              <p:nvPr/>
            </p:nvSpPr>
            <p:spPr bwMode="auto">
              <a:xfrm>
                <a:off x="4766" y="1920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5" name="Line 23"/>
              <p:cNvSpPr>
                <a:spLocks noChangeShapeType="1"/>
              </p:cNvSpPr>
              <p:nvPr/>
            </p:nvSpPr>
            <p:spPr bwMode="auto">
              <a:xfrm>
                <a:off x="4766" y="1928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6" name="Rectangle 24"/>
              <p:cNvSpPr>
                <a:spLocks noChangeArrowheads="1"/>
              </p:cNvSpPr>
              <p:nvPr/>
            </p:nvSpPr>
            <p:spPr bwMode="auto">
              <a:xfrm>
                <a:off x="4766" y="1928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7" name="Line 25"/>
              <p:cNvSpPr>
                <a:spLocks noChangeShapeType="1"/>
              </p:cNvSpPr>
              <p:nvPr/>
            </p:nvSpPr>
            <p:spPr bwMode="auto">
              <a:xfrm>
                <a:off x="4766" y="192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8" name="Rectangle 26"/>
              <p:cNvSpPr>
                <a:spLocks noChangeArrowheads="1"/>
              </p:cNvSpPr>
              <p:nvPr/>
            </p:nvSpPr>
            <p:spPr bwMode="auto">
              <a:xfrm>
                <a:off x="4766" y="1928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099" name="Line 27"/>
              <p:cNvSpPr>
                <a:spLocks noChangeShapeType="1"/>
              </p:cNvSpPr>
              <p:nvPr/>
            </p:nvSpPr>
            <p:spPr bwMode="auto">
              <a:xfrm>
                <a:off x="4766" y="1936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0" name="Rectangle 28"/>
              <p:cNvSpPr>
                <a:spLocks noChangeArrowheads="1"/>
              </p:cNvSpPr>
              <p:nvPr/>
            </p:nvSpPr>
            <p:spPr bwMode="auto">
              <a:xfrm>
                <a:off x="4766" y="1936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1" name="Rectangle 29"/>
              <p:cNvSpPr>
                <a:spLocks noChangeArrowheads="1"/>
              </p:cNvSpPr>
              <p:nvPr/>
            </p:nvSpPr>
            <p:spPr bwMode="auto">
              <a:xfrm>
                <a:off x="432" y="2040"/>
                <a:ext cx="5048" cy="120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2" name="Line 30"/>
              <p:cNvSpPr>
                <a:spLocks noChangeShapeType="1"/>
              </p:cNvSpPr>
              <p:nvPr/>
            </p:nvSpPr>
            <p:spPr bwMode="auto">
              <a:xfrm>
                <a:off x="4766" y="2048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3" name="Rectangle 31"/>
              <p:cNvSpPr>
                <a:spLocks noChangeArrowheads="1"/>
              </p:cNvSpPr>
              <p:nvPr/>
            </p:nvSpPr>
            <p:spPr bwMode="auto">
              <a:xfrm>
                <a:off x="4766" y="2048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4" name="Line 32"/>
              <p:cNvSpPr>
                <a:spLocks noChangeShapeType="1"/>
              </p:cNvSpPr>
              <p:nvPr/>
            </p:nvSpPr>
            <p:spPr bwMode="auto">
              <a:xfrm>
                <a:off x="4766" y="2048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5" name="Rectangle 33"/>
              <p:cNvSpPr>
                <a:spLocks noChangeArrowheads="1"/>
              </p:cNvSpPr>
              <p:nvPr/>
            </p:nvSpPr>
            <p:spPr bwMode="auto">
              <a:xfrm>
                <a:off x="4766" y="2048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6" name="Line 34"/>
              <p:cNvSpPr>
                <a:spLocks noChangeShapeType="1"/>
              </p:cNvSpPr>
              <p:nvPr/>
            </p:nvSpPr>
            <p:spPr bwMode="auto">
              <a:xfrm>
                <a:off x="4766" y="2056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7" name="Rectangle 35"/>
              <p:cNvSpPr>
                <a:spLocks noChangeArrowheads="1"/>
              </p:cNvSpPr>
              <p:nvPr/>
            </p:nvSpPr>
            <p:spPr bwMode="auto">
              <a:xfrm>
                <a:off x="4766" y="2056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8" name="Line 36"/>
              <p:cNvSpPr>
                <a:spLocks noChangeShapeType="1"/>
              </p:cNvSpPr>
              <p:nvPr/>
            </p:nvSpPr>
            <p:spPr bwMode="auto">
              <a:xfrm>
                <a:off x="4766" y="2056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09" name="Rectangle 37"/>
              <p:cNvSpPr>
                <a:spLocks noChangeArrowheads="1"/>
              </p:cNvSpPr>
              <p:nvPr/>
            </p:nvSpPr>
            <p:spPr bwMode="auto">
              <a:xfrm>
                <a:off x="4766" y="2056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0" name="Line 38"/>
              <p:cNvSpPr>
                <a:spLocks noChangeShapeType="1"/>
              </p:cNvSpPr>
              <p:nvPr/>
            </p:nvSpPr>
            <p:spPr bwMode="auto">
              <a:xfrm>
                <a:off x="4766" y="2064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1" name="Rectangle 39"/>
              <p:cNvSpPr>
                <a:spLocks noChangeArrowheads="1"/>
              </p:cNvSpPr>
              <p:nvPr/>
            </p:nvSpPr>
            <p:spPr bwMode="auto">
              <a:xfrm>
                <a:off x="4766" y="2064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2" name="Rectangle 40"/>
              <p:cNvSpPr>
                <a:spLocks noChangeArrowheads="1"/>
              </p:cNvSpPr>
              <p:nvPr/>
            </p:nvSpPr>
            <p:spPr bwMode="auto">
              <a:xfrm>
                <a:off x="432" y="2152"/>
                <a:ext cx="5048" cy="120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3" name="Line 41"/>
              <p:cNvSpPr>
                <a:spLocks noChangeShapeType="1"/>
              </p:cNvSpPr>
              <p:nvPr/>
            </p:nvSpPr>
            <p:spPr bwMode="auto">
              <a:xfrm>
                <a:off x="4766" y="2160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4" name="Rectangle 42"/>
              <p:cNvSpPr>
                <a:spLocks noChangeArrowheads="1"/>
              </p:cNvSpPr>
              <p:nvPr/>
            </p:nvSpPr>
            <p:spPr bwMode="auto">
              <a:xfrm>
                <a:off x="4766" y="2160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5" name="Line 43"/>
              <p:cNvSpPr>
                <a:spLocks noChangeShapeType="1"/>
              </p:cNvSpPr>
              <p:nvPr/>
            </p:nvSpPr>
            <p:spPr bwMode="auto">
              <a:xfrm>
                <a:off x="4766" y="2160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6" name="Rectangle 44"/>
              <p:cNvSpPr>
                <a:spLocks noChangeArrowheads="1"/>
              </p:cNvSpPr>
              <p:nvPr/>
            </p:nvSpPr>
            <p:spPr bwMode="auto">
              <a:xfrm>
                <a:off x="4766" y="2160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7" name="Line 45"/>
              <p:cNvSpPr>
                <a:spLocks noChangeShapeType="1"/>
              </p:cNvSpPr>
              <p:nvPr/>
            </p:nvSpPr>
            <p:spPr bwMode="auto">
              <a:xfrm>
                <a:off x="4766" y="2168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8" name="Rectangle 46"/>
              <p:cNvSpPr>
                <a:spLocks noChangeArrowheads="1"/>
              </p:cNvSpPr>
              <p:nvPr/>
            </p:nvSpPr>
            <p:spPr bwMode="auto">
              <a:xfrm>
                <a:off x="4766" y="2168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19" name="Line 47"/>
              <p:cNvSpPr>
                <a:spLocks noChangeShapeType="1"/>
              </p:cNvSpPr>
              <p:nvPr/>
            </p:nvSpPr>
            <p:spPr bwMode="auto">
              <a:xfrm>
                <a:off x="4766" y="216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0" name="Rectangle 48"/>
              <p:cNvSpPr>
                <a:spLocks noChangeArrowheads="1"/>
              </p:cNvSpPr>
              <p:nvPr/>
            </p:nvSpPr>
            <p:spPr bwMode="auto">
              <a:xfrm>
                <a:off x="4766" y="2168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1" name="Line 49"/>
              <p:cNvSpPr>
                <a:spLocks noChangeShapeType="1"/>
              </p:cNvSpPr>
              <p:nvPr/>
            </p:nvSpPr>
            <p:spPr bwMode="auto">
              <a:xfrm>
                <a:off x="4766" y="2176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2" name="Rectangle 50"/>
              <p:cNvSpPr>
                <a:spLocks noChangeArrowheads="1"/>
              </p:cNvSpPr>
              <p:nvPr/>
            </p:nvSpPr>
            <p:spPr bwMode="auto">
              <a:xfrm>
                <a:off x="4766" y="2176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3" name="Rectangle 51"/>
              <p:cNvSpPr>
                <a:spLocks noChangeArrowheads="1"/>
              </p:cNvSpPr>
              <p:nvPr/>
            </p:nvSpPr>
            <p:spPr bwMode="auto">
              <a:xfrm>
                <a:off x="432" y="2264"/>
                <a:ext cx="5048" cy="120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4" name="Line 52"/>
              <p:cNvSpPr>
                <a:spLocks noChangeShapeType="1"/>
              </p:cNvSpPr>
              <p:nvPr/>
            </p:nvSpPr>
            <p:spPr bwMode="auto">
              <a:xfrm>
                <a:off x="4766" y="2272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5" name="Rectangle 53"/>
              <p:cNvSpPr>
                <a:spLocks noChangeArrowheads="1"/>
              </p:cNvSpPr>
              <p:nvPr/>
            </p:nvSpPr>
            <p:spPr bwMode="auto">
              <a:xfrm>
                <a:off x="4766" y="2272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6" name="Line 54"/>
              <p:cNvSpPr>
                <a:spLocks noChangeShapeType="1"/>
              </p:cNvSpPr>
              <p:nvPr/>
            </p:nvSpPr>
            <p:spPr bwMode="auto">
              <a:xfrm>
                <a:off x="4766" y="2272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7" name="Rectangle 55"/>
              <p:cNvSpPr>
                <a:spLocks noChangeArrowheads="1"/>
              </p:cNvSpPr>
              <p:nvPr/>
            </p:nvSpPr>
            <p:spPr bwMode="auto">
              <a:xfrm>
                <a:off x="4766" y="2272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8" name="Line 56"/>
              <p:cNvSpPr>
                <a:spLocks noChangeShapeType="1"/>
              </p:cNvSpPr>
              <p:nvPr/>
            </p:nvSpPr>
            <p:spPr bwMode="auto">
              <a:xfrm>
                <a:off x="4766" y="2280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29" name="Rectangle 57"/>
              <p:cNvSpPr>
                <a:spLocks noChangeArrowheads="1"/>
              </p:cNvSpPr>
              <p:nvPr/>
            </p:nvSpPr>
            <p:spPr bwMode="auto">
              <a:xfrm>
                <a:off x="4766" y="2280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0" name="Line 58"/>
              <p:cNvSpPr>
                <a:spLocks noChangeShapeType="1"/>
              </p:cNvSpPr>
              <p:nvPr/>
            </p:nvSpPr>
            <p:spPr bwMode="auto">
              <a:xfrm>
                <a:off x="4766" y="228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1" name="Rectangle 59"/>
              <p:cNvSpPr>
                <a:spLocks noChangeArrowheads="1"/>
              </p:cNvSpPr>
              <p:nvPr/>
            </p:nvSpPr>
            <p:spPr bwMode="auto">
              <a:xfrm>
                <a:off x="4766" y="2288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2" name="Line 60"/>
              <p:cNvSpPr>
                <a:spLocks noChangeShapeType="1"/>
              </p:cNvSpPr>
              <p:nvPr/>
            </p:nvSpPr>
            <p:spPr bwMode="auto">
              <a:xfrm>
                <a:off x="4766" y="2288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3" name="Rectangle 61"/>
              <p:cNvSpPr>
                <a:spLocks noChangeArrowheads="1"/>
              </p:cNvSpPr>
              <p:nvPr/>
            </p:nvSpPr>
            <p:spPr bwMode="auto">
              <a:xfrm>
                <a:off x="4766" y="2288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4" name="Rectangle 62"/>
              <p:cNvSpPr>
                <a:spLocks noChangeArrowheads="1"/>
              </p:cNvSpPr>
              <p:nvPr/>
            </p:nvSpPr>
            <p:spPr bwMode="auto">
              <a:xfrm>
                <a:off x="432" y="2376"/>
                <a:ext cx="5048" cy="120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5" name="Line 63"/>
              <p:cNvSpPr>
                <a:spLocks noChangeShapeType="1"/>
              </p:cNvSpPr>
              <p:nvPr/>
            </p:nvSpPr>
            <p:spPr bwMode="auto">
              <a:xfrm>
                <a:off x="4766" y="2384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6" name="Rectangle 64"/>
              <p:cNvSpPr>
                <a:spLocks noChangeArrowheads="1"/>
              </p:cNvSpPr>
              <p:nvPr/>
            </p:nvSpPr>
            <p:spPr bwMode="auto">
              <a:xfrm>
                <a:off x="4766" y="2384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7" name="Line 65"/>
              <p:cNvSpPr>
                <a:spLocks noChangeShapeType="1"/>
              </p:cNvSpPr>
              <p:nvPr/>
            </p:nvSpPr>
            <p:spPr bwMode="auto">
              <a:xfrm>
                <a:off x="4766" y="2392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8" name="Rectangle 66"/>
              <p:cNvSpPr>
                <a:spLocks noChangeArrowheads="1"/>
              </p:cNvSpPr>
              <p:nvPr/>
            </p:nvSpPr>
            <p:spPr bwMode="auto">
              <a:xfrm>
                <a:off x="4766" y="2392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39" name="Line 67"/>
              <p:cNvSpPr>
                <a:spLocks noChangeShapeType="1"/>
              </p:cNvSpPr>
              <p:nvPr/>
            </p:nvSpPr>
            <p:spPr bwMode="auto">
              <a:xfrm>
                <a:off x="4766" y="2392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0" name="Rectangle 68"/>
              <p:cNvSpPr>
                <a:spLocks noChangeArrowheads="1"/>
              </p:cNvSpPr>
              <p:nvPr/>
            </p:nvSpPr>
            <p:spPr bwMode="auto">
              <a:xfrm>
                <a:off x="4766" y="2392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1" name="Line 69"/>
              <p:cNvSpPr>
                <a:spLocks noChangeShapeType="1"/>
              </p:cNvSpPr>
              <p:nvPr/>
            </p:nvSpPr>
            <p:spPr bwMode="auto">
              <a:xfrm>
                <a:off x="4766" y="2400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2" name="Rectangle 70"/>
              <p:cNvSpPr>
                <a:spLocks noChangeArrowheads="1"/>
              </p:cNvSpPr>
              <p:nvPr/>
            </p:nvSpPr>
            <p:spPr bwMode="auto">
              <a:xfrm>
                <a:off x="4766" y="2400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3" name="Line 71"/>
              <p:cNvSpPr>
                <a:spLocks noChangeShapeType="1"/>
              </p:cNvSpPr>
              <p:nvPr/>
            </p:nvSpPr>
            <p:spPr bwMode="auto">
              <a:xfrm>
                <a:off x="4766" y="2400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4" name="Rectangle 72"/>
              <p:cNvSpPr>
                <a:spLocks noChangeArrowheads="1"/>
              </p:cNvSpPr>
              <p:nvPr/>
            </p:nvSpPr>
            <p:spPr bwMode="auto">
              <a:xfrm>
                <a:off x="4766" y="2400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5" name="Rectangle 73"/>
              <p:cNvSpPr>
                <a:spLocks noChangeArrowheads="1"/>
              </p:cNvSpPr>
              <p:nvPr/>
            </p:nvSpPr>
            <p:spPr bwMode="auto">
              <a:xfrm>
                <a:off x="432" y="2496"/>
                <a:ext cx="5048" cy="112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6" name="Line 74"/>
              <p:cNvSpPr>
                <a:spLocks noChangeShapeType="1"/>
              </p:cNvSpPr>
              <p:nvPr/>
            </p:nvSpPr>
            <p:spPr bwMode="auto">
              <a:xfrm>
                <a:off x="4766" y="2496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7" name="Rectangle 75"/>
              <p:cNvSpPr>
                <a:spLocks noChangeArrowheads="1"/>
              </p:cNvSpPr>
              <p:nvPr/>
            </p:nvSpPr>
            <p:spPr bwMode="auto">
              <a:xfrm>
                <a:off x="4766" y="2496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8" name="Line 76"/>
              <p:cNvSpPr>
                <a:spLocks noChangeShapeType="1"/>
              </p:cNvSpPr>
              <p:nvPr/>
            </p:nvSpPr>
            <p:spPr bwMode="auto">
              <a:xfrm>
                <a:off x="4766" y="2504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49" name="Rectangle 77"/>
              <p:cNvSpPr>
                <a:spLocks noChangeArrowheads="1"/>
              </p:cNvSpPr>
              <p:nvPr/>
            </p:nvSpPr>
            <p:spPr bwMode="auto">
              <a:xfrm>
                <a:off x="4766" y="2504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0" name="Line 78"/>
              <p:cNvSpPr>
                <a:spLocks noChangeShapeType="1"/>
              </p:cNvSpPr>
              <p:nvPr/>
            </p:nvSpPr>
            <p:spPr bwMode="auto">
              <a:xfrm>
                <a:off x="4766" y="2504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1" name="Rectangle 79"/>
              <p:cNvSpPr>
                <a:spLocks noChangeArrowheads="1"/>
              </p:cNvSpPr>
              <p:nvPr/>
            </p:nvSpPr>
            <p:spPr bwMode="auto">
              <a:xfrm>
                <a:off x="4766" y="2504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2" name="Line 80"/>
              <p:cNvSpPr>
                <a:spLocks noChangeShapeType="1"/>
              </p:cNvSpPr>
              <p:nvPr/>
            </p:nvSpPr>
            <p:spPr bwMode="auto">
              <a:xfrm>
                <a:off x="4766" y="2512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3" name="Rectangle 81"/>
              <p:cNvSpPr>
                <a:spLocks noChangeArrowheads="1"/>
              </p:cNvSpPr>
              <p:nvPr/>
            </p:nvSpPr>
            <p:spPr bwMode="auto">
              <a:xfrm>
                <a:off x="4766" y="2512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4" name="Line 82"/>
              <p:cNvSpPr>
                <a:spLocks noChangeShapeType="1"/>
              </p:cNvSpPr>
              <p:nvPr/>
            </p:nvSpPr>
            <p:spPr bwMode="auto">
              <a:xfrm>
                <a:off x="4766" y="2512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5" name="Rectangle 83"/>
              <p:cNvSpPr>
                <a:spLocks noChangeArrowheads="1"/>
              </p:cNvSpPr>
              <p:nvPr/>
            </p:nvSpPr>
            <p:spPr bwMode="auto">
              <a:xfrm>
                <a:off x="4766" y="2512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6" name="Rectangle 84"/>
              <p:cNvSpPr>
                <a:spLocks noChangeArrowheads="1"/>
              </p:cNvSpPr>
              <p:nvPr/>
            </p:nvSpPr>
            <p:spPr bwMode="auto">
              <a:xfrm>
                <a:off x="432" y="2608"/>
                <a:ext cx="5048" cy="111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7" name="Line 85"/>
              <p:cNvSpPr>
                <a:spLocks noChangeShapeType="1"/>
              </p:cNvSpPr>
              <p:nvPr/>
            </p:nvSpPr>
            <p:spPr bwMode="auto">
              <a:xfrm>
                <a:off x="4766" y="2608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8" name="Rectangle 86"/>
              <p:cNvSpPr>
                <a:spLocks noChangeArrowheads="1"/>
              </p:cNvSpPr>
              <p:nvPr/>
            </p:nvSpPr>
            <p:spPr bwMode="auto">
              <a:xfrm>
                <a:off x="4766" y="2608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59" name="Line 87"/>
              <p:cNvSpPr>
                <a:spLocks noChangeShapeType="1"/>
              </p:cNvSpPr>
              <p:nvPr/>
            </p:nvSpPr>
            <p:spPr bwMode="auto">
              <a:xfrm>
                <a:off x="4766" y="2616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0" name="Rectangle 88"/>
              <p:cNvSpPr>
                <a:spLocks noChangeArrowheads="1"/>
              </p:cNvSpPr>
              <p:nvPr/>
            </p:nvSpPr>
            <p:spPr bwMode="auto">
              <a:xfrm>
                <a:off x="4766" y="2616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1" name="Line 89"/>
              <p:cNvSpPr>
                <a:spLocks noChangeShapeType="1"/>
              </p:cNvSpPr>
              <p:nvPr/>
            </p:nvSpPr>
            <p:spPr bwMode="auto">
              <a:xfrm>
                <a:off x="4766" y="2616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2" name="Rectangle 90"/>
              <p:cNvSpPr>
                <a:spLocks noChangeArrowheads="1"/>
              </p:cNvSpPr>
              <p:nvPr/>
            </p:nvSpPr>
            <p:spPr bwMode="auto">
              <a:xfrm>
                <a:off x="4766" y="2616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3" name="Line 91"/>
              <p:cNvSpPr>
                <a:spLocks noChangeShapeType="1"/>
              </p:cNvSpPr>
              <p:nvPr/>
            </p:nvSpPr>
            <p:spPr bwMode="auto">
              <a:xfrm>
                <a:off x="4766" y="2624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4" name="Rectangle 92"/>
              <p:cNvSpPr>
                <a:spLocks noChangeArrowheads="1"/>
              </p:cNvSpPr>
              <p:nvPr/>
            </p:nvSpPr>
            <p:spPr bwMode="auto">
              <a:xfrm>
                <a:off x="4766" y="2624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5" name="Line 93"/>
              <p:cNvSpPr>
                <a:spLocks noChangeShapeType="1"/>
              </p:cNvSpPr>
              <p:nvPr/>
            </p:nvSpPr>
            <p:spPr bwMode="auto">
              <a:xfrm>
                <a:off x="4766" y="2632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6" name="Rectangle 94"/>
              <p:cNvSpPr>
                <a:spLocks noChangeArrowheads="1"/>
              </p:cNvSpPr>
              <p:nvPr/>
            </p:nvSpPr>
            <p:spPr bwMode="auto">
              <a:xfrm>
                <a:off x="4766" y="2632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7" name="Rectangle 95"/>
              <p:cNvSpPr>
                <a:spLocks noChangeArrowheads="1"/>
              </p:cNvSpPr>
              <p:nvPr/>
            </p:nvSpPr>
            <p:spPr bwMode="auto">
              <a:xfrm>
                <a:off x="432" y="2719"/>
                <a:ext cx="5048" cy="120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8" name="Line 96"/>
              <p:cNvSpPr>
                <a:spLocks noChangeShapeType="1"/>
              </p:cNvSpPr>
              <p:nvPr/>
            </p:nvSpPr>
            <p:spPr bwMode="auto">
              <a:xfrm>
                <a:off x="4766" y="2719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69" name="Rectangle 97"/>
              <p:cNvSpPr>
                <a:spLocks noChangeArrowheads="1"/>
              </p:cNvSpPr>
              <p:nvPr/>
            </p:nvSpPr>
            <p:spPr bwMode="auto">
              <a:xfrm>
                <a:off x="4766" y="2719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0" name="Line 98"/>
              <p:cNvSpPr>
                <a:spLocks noChangeShapeType="1"/>
              </p:cNvSpPr>
              <p:nvPr/>
            </p:nvSpPr>
            <p:spPr bwMode="auto">
              <a:xfrm>
                <a:off x="4766" y="2727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1" name="Rectangle 99"/>
              <p:cNvSpPr>
                <a:spLocks noChangeArrowheads="1"/>
              </p:cNvSpPr>
              <p:nvPr/>
            </p:nvSpPr>
            <p:spPr bwMode="auto">
              <a:xfrm>
                <a:off x="4766" y="2727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2" name="Line 100"/>
              <p:cNvSpPr>
                <a:spLocks noChangeShapeType="1"/>
              </p:cNvSpPr>
              <p:nvPr/>
            </p:nvSpPr>
            <p:spPr bwMode="auto">
              <a:xfrm>
                <a:off x="4766" y="2735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3" name="Rectangle 101"/>
              <p:cNvSpPr>
                <a:spLocks noChangeArrowheads="1"/>
              </p:cNvSpPr>
              <p:nvPr/>
            </p:nvSpPr>
            <p:spPr bwMode="auto">
              <a:xfrm>
                <a:off x="4766" y="2735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4" name="Line 102"/>
              <p:cNvSpPr>
                <a:spLocks noChangeShapeType="1"/>
              </p:cNvSpPr>
              <p:nvPr/>
            </p:nvSpPr>
            <p:spPr bwMode="auto">
              <a:xfrm>
                <a:off x="4766" y="2735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5" name="Rectangle 103"/>
              <p:cNvSpPr>
                <a:spLocks noChangeArrowheads="1"/>
              </p:cNvSpPr>
              <p:nvPr/>
            </p:nvSpPr>
            <p:spPr bwMode="auto">
              <a:xfrm>
                <a:off x="4766" y="2735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6" name="Line 104"/>
              <p:cNvSpPr>
                <a:spLocks noChangeShapeType="1"/>
              </p:cNvSpPr>
              <p:nvPr/>
            </p:nvSpPr>
            <p:spPr bwMode="auto">
              <a:xfrm>
                <a:off x="4766" y="2743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7" name="Rectangle 105"/>
              <p:cNvSpPr>
                <a:spLocks noChangeArrowheads="1"/>
              </p:cNvSpPr>
              <p:nvPr/>
            </p:nvSpPr>
            <p:spPr bwMode="auto">
              <a:xfrm>
                <a:off x="4766" y="2743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8" name="Rectangle 106"/>
              <p:cNvSpPr>
                <a:spLocks noChangeArrowheads="1"/>
              </p:cNvSpPr>
              <p:nvPr/>
            </p:nvSpPr>
            <p:spPr bwMode="auto">
              <a:xfrm>
                <a:off x="432" y="2831"/>
                <a:ext cx="5048" cy="120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79" name="Line 107"/>
              <p:cNvSpPr>
                <a:spLocks noChangeShapeType="1"/>
              </p:cNvSpPr>
              <p:nvPr/>
            </p:nvSpPr>
            <p:spPr bwMode="auto">
              <a:xfrm>
                <a:off x="4766" y="2839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0" name="Rectangle 108"/>
              <p:cNvSpPr>
                <a:spLocks noChangeArrowheads="1"/>
              </p:cNvSpPr>
              <p:nvPr/>
            </p:nvSpPr>
            <p:spPr bwMode="auto">
              <a:xfrm>
                <a:off x="4766" y="2839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1" name="Line 109"/>
              <p:cNvSpPr>
                <a:spLocks noChangeShapeType="1"/>
              </p:cNvSpPr>
              <p:nvPr/>
            </p:nvSpPr>
            <p:spPr bwMode="auto">
              <a:xfrm>
                <a:off x="4766" y="2839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2" name="Rectangle 110"/>
              <p:cNvSpPr>
                <a:spLocks noChangeArrowheads="1"/>
              </p:cNvSpPr>
              <p:nvPr/>
            </p:nvSpPr>
            <p:spPr bwMode="auto">
              <a:xfrm>
                <a:off x="4766" y="2839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3" name="Line 111"/>
              <p:cNvSpPr>
                <a:spLocks noChangeShapeType="1"/>
              </p:cNvSpPr>
              <p:nvPr/>
            </p:nvSpPr>
            <p:spPr bwMode="auto">
              <a:xfrm>
                <a:off x="4766" y="2847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4" name="Rectangle 112"/>
              <p:cNvSpPr>
                <a:spLocks noChangeArrowheads="1"/>
              </p:cNvSpPr>
              <p:nvPr/>
            </p:nvSpPr>
            <p:spPr bwMode="auto">
              <a:xfrm>
                <a:off x="4766" y="2847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5" name="Line 113"/>
              <p:cNvSpPr>
                <a:spLocks noChangeShapeType="1"/>
              </p:cNvSpPr>
              <p:nvPr/>
            </p:nvSpPr>
            <p:spPr bwMode="auto">
              <a:xfrm>
                <a:off x="4766" y="2847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6" name="Rectangle 114"/>
              <p:cNvSpPr>
                <a:spLocks noChangeArrowheads="1"/>
              </p:cNvSpPr>
              <p:nvPr/>
            </p:nvSpPr>
            <p:spPr bwMode="auto">
              <a:xfrm>
                <a:off x="4766" y="2847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7" name="Line 115"/>
              <p:cNvSpPr>
                <a:spLocks noChangeShapeType="1"/>
              </p:cNvSpPr>
              <p:nvPr/>
            </p:nvSpPr>
            <p:spPr bwMode="auto">
              <a:xfrm>
                <a:off x="4766" y="2855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8" name="Rectangle 116"/>
              <p:cNvSpPr>
                <a:spLocks noChangeArrowheads="1"/>
              </p:cNvSpPr>
              <p:nvPr/>
            </p:nvSpPr>
            <p:spPr bwMode="auto">
              <a:xfrm>
                <a:off x="4766" y="2855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89" name="Rectangle 117"/>
              <p:cNvSpPr>
                <a:spLocks noChangeArrowheads="1"/>
              </p:cNvSpPr>
              <p:nvPr/>
            </p:nvSpPr>
            <p:spPr bwMode="auto">
              <a:xfrm>
                <a:off x="432" y="2943"/>
                <a:ext cx="5048" cy="120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0" name="Line 118"/>
              <p:cNvSpPr>
                <a:spLocks noChangeShapeType="1"/>
              </p:cNvSpPr>
              <p:nvPr/>
            </p:nvSpPr>
            <p:spPr bwMode="auto">
              <a:xfrm>
                <a:off x="4766" y="2951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1" name="Rectangle 119"/>
              <p:cNvSpPr>
                <a:spLocks noChangeArrowheads="1"/>
              </p:cNvSpPr>
              <p:nvPr/>
            </p:nvSpPr>
            <p:spPr bwMode="auto">
              <a:xfrm>
                <a:off x="4766" y="2951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2" name="Line 120"/>
              <p:cNvSpPr>
                <a:spLocks noChangeShapeType="1"/>
              </p:cNvSpPr>
              <p:nvPr/>
            </p:nvSpPr>
            <p:spPr bwMode="auto">
              <a:xfrm>
                <a:off x="4766" y="2951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3" name="Rectangle 121"/>
              <p:cNvSpPr>
                <a:spLocks noChangeArrowheads="1"/>
              </p:cNvSpPr>
              <p:nvPr/>
            </p:nvSpPr>
            <p:spPr bwMode="auto">
              <a:xfrm>
                <a:off x="4766" y="2951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4" name="Line 122"/>
              <p:cNvSpPr>
                <a:spLocks noChangeShapeType="1"/>
              </p:cNvSpPr>
              <p:nvPr/>
            </p:nvSpPr>
            <p:spPr bwMode="auto">
              <a:xfrm>
                <a:off x="4766" y="2959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5" name="Rectangle 123"/>
              <p:cNvSpPr>
                <a:spLocks noChangeArrowheads="1"/>
              </p:cNvSpPr>
              <p:nvPr/>
            </p:nvSpPr>
            <p:spPr bwMode="auto">
              <a:xfrm>
                <a:off x="4766" y="2959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6" name="Line 124"/>
              <p:cNvSpPr>
                <a:spLocks noChangeShapeType="1"/>
              </p:cNvSpPr>
              <p:nvPr/>
            </p:nvSpPr>
            <p:spPr bwMode="auto">
              <a:xfrm>
                <a:off x="4766" y="2959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7" name="Rectangle 125"/>
              <p:cNvSpPr>
                <a:spLocks noChangeArrowheads="1"/>
              </p:cNvSpPr>
              <p:nvPr/>
            </p:nvSpPr>
            <p:spPr bwMode="auto">
              <a:xfrm>
                <a:off x="4766" y="2959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8" name="Line 126"/>
              <p:cNvSpPr>
                <a:spLocks noChangeShapeType="1"/>
              </p:cNvSpPr>
              <p:nvPr/>
            </p:nvSpPr>
            <p:spPr bwMode="auto">
              <a:xfrm>
                <a:off x="4766" y="2967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199" name="Rectangle 127"/>
              <p:cNvSpPr>
                <a:spLocks noChangeArrowheads="1"/>
              </p:cNvSpPr>
              <p:nvPr/>
            </p:nvSpPr>
            <p:spPr bwMode="auto">
              <a:xfrm>
                <a:off x="4766" y="2967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0" name="Rectangle 128"/>
              <p:cNvSpPr>
                <a:spLocks noChangeArrowheads="1"/>
              </p:cNvSpPr>
              <p:nvPr/>
            </p:nvSpPr>
            <p:spPr bwMode="auto">
              <a:xfrm>
                <a:off x="432" y="3055"/>
                <a:ext cx="5048" cy="120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1" name="Line 129"/>
              <p:cNvSpPr>
                <a:spLocks noChangeShapeType="1"/>
              </p:cNvSpPr>
              <p:nvPr/>
            </p:nvSpPr>
            <p:spPr bwMode="auto">
              <a:xfrm>
                <a:off x="4766" y="3063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2" name="Rectangle 130"/>
              <p:cNvSpPr>
                <a:spLocks noChangeArrowheads="1"/>
              </p:cNvSpPr>
              <p:nvPr/>
            </p:nvSpPr>
            <p:spPr bwMode="auto">
              <a:xfrm>
                <a:off x="4766" y="3063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3" name="Line 131"/>
              <p:cNvSpPr>
                <a:spLocks noChangeShapeType="1"/>
              </p:cNvSpPr>
              <p:nvPr/>
            </p:nvSpPr>
            <p:spPr bwMode="auto">
              <a:xfrm>
                <a:off x="4766" y="3063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4" name="Rectangle 132"/>
              <p:cNvSpPr>
                <a:spLocks noChangeArrowheads="1"/>
              </p:cNvSpPr>
              <p:nvPr/>
            </p:nvSpPr>
            <p:spPr bwMode="auto">
              <a:xfrm>
                <a:off x="4766" y="3063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5" name="Line 133"/>
              <p:cNvSpPr>
                <a:spLocks noChangeShapeType="1"/>
              </p:cNvSpPr>
              <p:nvPr/>
            </p:nvSpPr>
            <p:spPr bwMode="auto">
              <a:xfrm>
                <a:off x="4766" y="3071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6" name="Rectangle 134"/>
              <p:cNvSpPr>
                <a:spLocks noChangeArrowheads="1"/>
              </p:cNvSpPr>
              <p:nvPr/>
            </p:nvSpPr>
            <p:spPr bwMode="auto">
              <a:xfrm>
                <a:off x="4766" y="3071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7" name="Line 135"/>
              <p:cNvSpPr>
                <a:spLocks noChangeShapeType="1"/>
              </p:cNvSpPr>
              <p:nvPr/>
            </p:nvSpPr>
            <p:spPr bwMode="auto">
              <a:xfrm>
                <a:off x="4766" y="3079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8" name="Rectangle 136"/>
              <p:cNvSpPr>
                <a:spLocks noChangeArrowheads="1"/>
              </p:cNvSpPr>
              <p:nvPr/>
            </p:nvSpPr>
            <p:spPr bwMode="auto">
              <a:xfrm>
                <a:off x="4766" y="3079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09" name="Line 137"/>
              <p:cNvSpPr>
                <a:spLocks noChangeShapeType="1"/>
              </p:cNvSpPr>
              <p:nvPr/>
            </p:nvSpPr>
            <p:spPr bwMode="auto">
              <a:xfrm>
                <a:off x="4766" y="3079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0" name="Rectangle 138"/>
              <p:cNvSpPr>
                <a:spLocks noChangeArrowheads="1"/>
              </p:cNvSpPr>
              <p:nvPr/>
            </p:nvSpPr>
            <p:spPr bwMode="auto">
              <a:xfrm>
                <a:off x="4766" y="3079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1" name="Rectangle 139"/>
              <p:cNvSpPr>
                <a:spLocks noChangeArrowheads="1"/>
              </p:cNvSpPr>
              <p:nvPr/>
            </p:nvSpPr>
            <p:spPr bwMode="auto">
              <a:xfrm>
                <a:off x="432" y="3167"/>
                <a:ext cx="5048" cy="120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2" name="Line 140"/>
              <p:cNvSpPr>
                <a:spLocks noChangeShapeType="1"/>
              </p:cNvSpPr>
              <p:nvPr/>
            </p:nvSpPr>
            <p:spPr bwMode="auto">
              <a:xfrm>
                <a:off x="4766" y="3175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3" name="Rectangle 141"/>
              <p:cNvSpPr>
                <a:spLocks noChangeArrowheads="1"/>
              </p:cNvSpPr>
              <p:nvPr/>
            </p:nvSpPr>
            <p:spPr bwMode="auto">
              <a:xfrm>
                <a:off x="4766" y="3175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4" name="Line 142"/>
              <p:cNvSpPr>
                <a:spLocks noChangeShapeType="1"/>
              </p:cNvSpPr>
              <p:nvPr/>
            </p:nvSpPr>
            <p:spPr bwMode="auto">
              <a:xfrm>
                <a:off x="4766" y="3183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5" name="Rectangle 143"/>
              <p:cNvSpPr>
                <a:spLocks noChangeArrowheads="1"/>
              </p:cNvSpPr>
              <p:nvPr/>
            </p:nvSpPr>
            <p:spPr bwMode="auto">
              <a:xfrm>
                <a:off x="4766" y="3183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6" name="Line 144"/>
              <p:cNvSpPr>
                <a:spLocks noChangeShapeType="1"/>
              </p:cNvSpPr>
              <p:nvPr/>
            </p:nvSpPr>
            <p:spPr bwMode="auto">
              <a:xfrm>
                <a:off x="4766" y="3183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7" name="Rectangle 145"/>
              <p:cNvSpPr>
                <a:spLocks noChangeArrowheads="1"/>
              </p:cNvSpPr>
              <p:nvPr/>
            </p:nvSpPr>
            <p:spPr bwMode="auto">
              <a:xfrm>
                <a:off x="4766" y="3183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8" name="Line 146"/>
              <p:cNvSpPr>
                <a:spLocks noChangeShapeType="1"/>
              </p:cNvSpPr>
              <p:nvPr/>
            </p:nvSpPr>
            <p:spPr bwMode="auto">
              <a:xfrm>
                <a:off x="4766" y="3191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19" name="Rectangle 147"/>
              <p:cNvSpPr>
                <a:spLocks noChangeArrowheads="1"/>
              </p:cNvSpPr>
              <p:nvPr/>
            </p:nvSpPr>
            <p:spPr bwMode="auto">
              <a:xfrm>
                <a:off x="4766" y="3191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0" name="Line 148"/>
              <p:cNvSpPr>
                <a:spLocks noChangeShapeType="1"/>
              </p:cNvSpPr>
              <p:nvPr/>
            </p:nvSpPr>
            <p:spPr bwMode="auto">
              <a:xfrm>
                <a:off x="4766" y="3191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1" name="Rectangle 149"/>
              <p:cNvSpPr>
                <a:spLocks noChangeArrowheads="1"/>
              </p:cNvSpPr>
              <p:nvPr/>
            </p:nvSpPr>
            <p:spPr bwMode="auto">
              <a:xfrm>
                <a:off x="4766" y="3191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2" name="Rectangle 150"/>
              <p:cNvSpPr>
                <a:spLocks noChangeArrowheads="1"/>
              </p:cNvSpPr>
              <p:nvPr/>
            </p:nvSpPr>
            <p:spPr bwMode="auto">
              <a:xfrm>
                <a:off x="432" y="3287"/>
                <a:ext cx="5048" cy="144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3" name="Line 151"/>
              <p:cNvSpPr>
                <a:spLocks noChangeShapeType="1"/>
              </p:cNvSpPr>
              <p:nvPr/>
            </p:nvSpPr>
            <p:spPr bwMode="auto">
              <a:xfrm>
                <a:off x="3257" y="3287"/>
                <a:ext cx="32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4" name="Rectangle 152"/>
              <p:cNvSpPr>
                <a:spLocks noChangeArrowheads="1"/>
              </p:cNvSpPr>
              <p:nvPr/>
            </p:nvSpPr>
            <p:spPr bwMode="auto">
              <a:xfrm>
                <a:off x="3257" y="3287"/>
                <a:ext cx="32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5" name="Line 153"/>
              <p:cNvSpPr>
                <a:spLocks noChangeShapeType="1"/>
              </p:cNvSpPr>
              <p:nvPr/>
            </p:nvSpPr>
            <p:spPr bwMode="auto">
              <a:xfrm>
                <a:off x="3257" y="3295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6" name="Rectangle 154"/>
              <p:cNvSpPr>
                <a:spLocks noChangeArrowheads="1"/>
              </p:cNvSpPr>
              <p:nvPr/>
            </p:nvSpPr>
            <p:spPr bwMode="auto">
              <a:xfrm>
                <a:off x="3257" y="3295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7" name="Line 155"/>
              <p:cNvSpPr>
                <a:spLocks noChangeShapeType="1"/>
              </p:cNvSpPr>
              <p:nvPr/>
            </p:nvSpPr>
            <p:spPr bwMode="auto">
              <a:xfrm>
                <a:off x="3257" y="3295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8" name="Rectangle 156"/>
              <p:cNvSpPr>
                <a:spLocks noChangeArrowheads="1"/>
              </p:cNvSpPr>
              <p:nvPr/>
            </p:nvSpPr>
            <p:spPr bwMode="auto">
              <a:xfrm>
                <a:off x="3257" y="3295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29" name="Line 157"/>
              <p:cNvSpPr>
                <a:spLocks noChangeShapeType="1"/>
              </p:cNvSpPr>
              <p:nvPr/>
            </p:nvSpPr>
            <p:spPr bwMode="auto">
              <a:xfrm>
                <a:off x="3257" y="3303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0" name="Rectangle 158"/>
              <p:cNvSpPr>
                <a:spLocks noChangeArrowheads="1"/>
              </p:cNvSpPr>
              <p:nvPr/>
            </p:nvSpPr>
            <p:spPr bwMode="auto">
              <a:xfrm>
                <a:off x="3257" y="3303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1" name="Line 159"/>
              <p:cNvSpPr>
                <a:spLocks noChangeShapeType="1"/>
              </p:cNvSpPr>
              <p:nvPr/>
            </p:nvSpPr>
            <p:spPr bwMode="auto">
              <a:xfrm>
                <a:off x="3257" y="3303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2" name="Rectangle 160"/>
              <p:cNvSpPr>
                <a:spLocks noChangeArrowheads="1"/>
              </p:cNvSpPr>
              <p:nvPr/>
            </p:nvSpPr>
            <p:spPr bwMode="auto">
              <a:xfrm>
                <a:off x="3257" y="3303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3" name="Line 161"/>
              <p:cNvSpPr>
                <a:spLocks noChangeShapeType="1"/>
              </p:cNvSpPr>
              <p:nvPr/>
            </p:nvSpPr>
            <p:spPr bwMode="auto">
              <a:xfrm>
                <a:off x="3763" y="3287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4" name="Rectangle 162"/>
              <p:cNvSpPr>
                <a:spLocks noChangeArrowheads="1"/>
              </p:cNvSpPr>
              <p:nvPr/>
            </p:nvSpPr>
            <p:spPr bwMode="auto">
              <a:xfrm>
                <a:off x="3763" y="3287"/>
                <a:ext cx="24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5" name="Line 163"/>
              <p:cNvSpPr>
                <a:spLocks noChangeShapeType="1"/>
              </p:cNvSpPr>
              <p:nvPr/>
            </p:nvSpPr>
            <p:spPr bwMode="auto">
              <a:xfrm>
                <a:off x="3763" y="3295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6" name="Rectangle 164"/>
              <p:cNvSpPr>
                <a:spLocks noChangeArrowheads="1"/>
              </p:cNvSpPr>
              <p:nvPr/>
            </p:nvSpPr>
            <p:spPr bwMode="auto">
              <a:xfrm>
                <a:off x="3763" y="3295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7" name="Line 165"/>
              <p:cNvSpPr>
                <a:spLocks noChangeShapeType="1"/>
              </p:cNvSpPr>
              <p:nvPr/>
            </p:nvSpPr>
            <p:spPr bwMode="auto">
              <a:xfrm>
                <a:off x="3763" y="3295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8" name="Rectangle 166"/>
              <p:cNvSpPr>
                <a:spLocks noChangeArrowheads="1"/>
              </p:cNvSpPr>
              <p:nvPr/>
            </p:nvSpPr>
            <p:spPr bwMode="auto">
              <a:xfrm>
                <a:off x="3763" y="3295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39" name="Line 167"/>
              <p:cNvSpPr>
                <a:spLocks noChangeShapeType="1"/>
              </p:cNvSpPr>
              <p:nvPr/>
            </p:nvSpPr>
            <p:spPr bwMode="auto">
              <a:xfrm>
                <a:off x="3763" y="3303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0" name="Rectangle 168"/>
              <p:cNvSpPr>
                <a:spLocks noChangeArrowheads="1"/>
              </p:cNvSpPr>
              <p:nvPr/>
            </p:nvSpPr>
            <p:spPr bwMode="auto">
              <a:xfrm>
                <a:off x="3763" y="3303"/>
                <a:ext cx="8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1" name="Line 169"/>
              <p:cNvSpPr>
                <a:spLocks noChangeShapeType="1"/>
              </p:cNvSpPr>
              <p:nvPr/>
            </p:nvSpPr>
            <p:spPr bwMode="auto">
              <a:xfrm>
                <a:off x="3763" y="3303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2" name="Rectangle 170"/>
              <p:cNvSpPr>
                <a:spLocks noChangeArrowheads="1"/>
              </p:cNvSpPr>
              <p:nvPr/>
            </p:nvSpPr>
            <p:spPr bwMode="auto">
              <a:xfrm>
                <a:off x="3763" y="3303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3" name="Line 171"/>
              <p:cNvSpPr>
                <a:spLocks noChangeShapeType="1"/>
              </p:cNvSpPr>
              <p:nvPr/>
            </p:nvSpPr>
            <p:spPr bwMode="auto">
              <a:xfrm>
                <a:off x="4260" y="3287"/>
                <a:ext cx="32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4" name="Rectangle 172"/>
              <p:cNvSpPr>
                <a:spLocks noChangeArrowheads="1"/>
              </p:cNvSpPr>
              <p:nvPr/>
            </p:nvSpPr>
            <p:spPr bwMode="auto">
              <a:xfrm>
                <a:off x="4260" y="3287"/>
                <a:ext cx="32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5" name="Line 173"/>
              <p:cNvSpPr>
                <a:spLocks noChangeShapeType="1"/>
              </p:cNvSpPr>
              <p:nvPr/>
            </p:nvSpPr>
            <p:spPr bwMode="auto">
              <a:xfrm>
                <a:off x="4260" y="3295"/>
                <a:ext cx="24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6" name="Rectangle 174"/>
              <p:cNvSpPr>
                <a:spLocks noChangeArrowheads="1"/>
              </p:cNvSpPr>
              <p:nvPr/>
            </p:nvSpPr>
            <p:spPr bwMode="auto">
              <a:xfrm>
                <a:off x="4260" y="3295"/>
                <a:ext cx="24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7" name="Line 175"/>
              <p:cNvSpPr>
                <a:spLocks noChangeShapeType="1"/>
              </p:cNvSpPr>
              <p:nvPr/>
            </p:nvSpPr>
            <p:spPr bwMode="auto">
              <a:xfrm>
                <a:off x="4260" y="3295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8" name="Rectangle 176"/>
              <p:cNvSpPr>
                <a:spLocks noChangeArrowheads="1"/>
              </p:cNvSpPr>
              <p:nvPr/>
            </p:nvSpPr>
            <p:spPr bwMode="auto">
              <a:xfrm>
                <a:off x="4260" y="3295"/>
                <a:ext cx="16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49" name="Line 177"/>
              <p:cNvSpPr>
                <a:spLocks noChangeShapeType="1"/>
              </p:cNvSpPr>
              <p:nvPr/>
            </p:nvSpPr>
            <p:spPr bwMode="auto">
              <a:xfrm>
                <a:off x="4260" y="3303"/>
                <a:ext cx="16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0" name="Rectangle 178"/>
              <p:cNvSpPr>
                <a:spLocks noChangeArrowheads="1"/>
              </p:cNvSpPr>
              <p:nvPr/>
            </p:nvSpPr>
            <p:spPr bwMode="auto">
              <a:xfrm>
                <a:off x="4260" y="3303"/>
                <a:ext cx="16" cy="1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1" name="Line 179"/>
              <p:cNvSpPr>
                <a:spLocks noChangeShapeType="1"/>
              </p:cNvSpPr>
              <p:nvPr/>
            </p:nvSpPr>
            <p:spPr bwMode="auto">
              <a:xfrm>
                <a:off x="4260" y="3303"/>
                <a:ext cx="8" cy="1"/>
              </a:xfrm>
              <a:prstGeom prst="line">
                <a:avLst/>
              </a:prstGeom>
              <a:noFill/>
              <a:ln w="0">
                <a:solidFill>
                  <a:srgbClr val="008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2" name="Rectangle 180"/>
              <p:cNvSpPr>
                <a:spLocks noChangeArrowheads="1"/>
              </p:cNvSpPr>
              <p:nvPr/>
            </p:nvSpPr>
            <p:spPr bwMode="auto">
              <a:xfrm>
                <a:off x="4260" y="3303"/>
                <a:ext cx="8" cy="8"/>
              </a:xfrm>
              <a:prstGeom prst="rect">
                <a:avLst/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3" name="Rectangle 181"/>
              <p:cNvSpPr>
                <a:spLocks noChangeArrowheads="1"/>
              </p:cNvSpPr>
              <p:nvPr/>
            </p:nvSpPr>
            <p:spPr bwMode="auto">
              <a:xfrm>
                <a:off x="432" y="3423"/>
                <a:ext cx="5048" cy="152"/>
              </a:xfrm>
              <a:prstGeom prst="rect">
                <a:avLst/>
              </a:prstGeom>
              <a:solidFill>
                <a:srgbClr val="DBE5F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4" name="Rectangle 182"/>
              <p:cNvSpPr>
                <a:spLocks noChangeArrowheads="1"/>
              </p:cNvSpPr>
              <p:nvPr/>
            </p:nvSpPr>
            <p:spPr bwMode="auto">
              <a:xfrm>
                <a:off x="432" y="3567"/>
                <a:ext cx="5048" cy="176"/>
              </a:xfrm>
              <a:prstGeom prst="rect">
                <a:avLst/>
              </a:prstGeom>
              <a:solidFill>
                <a:srgbClr val="FDE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00"/>
              </a:p>
            </p:txBody>
          </p:sp>
          <p:sp>
            <p:nvSpPr>
              <p:cNvPr id="3255" name="Rectangle 183"/>
              <p:cNvSpPr>
                <a:spLocks noChangeArrowheads="1"/>
              </p:cNvSpPr>
              <p:nvPr/>
            </p:nvSpPr>
            <p:spPr bwMode="auto">
              <a:xfrm>
                <a:off x="3530" y="1680"/>
                <a:ext cx="21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01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56" name="Rectangle 184"/>
              <p:cNvSpPr>
                <a:spLocks noChangeArrowheads="1"/>
              </p:cNvSpPr>
              <p:nvPr/>
            </p:nvSpPr>
            <p:spPr bwMode="auto">
              <a:xfrm>
                <a:off x="4027" y="1680"/>
                <a:ext cx="21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01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57" name="Rectangle 185"/>
              <p:cNvSpPr>
                <a:spLocks noChangeArrowheads="1"/>
              </p:cNvSpPr>
              <p:nvPr/>
            </p:nvSpPr>
            <p:spPr bwMode="auto">
              <a:xfrm>
                <a:off x="4533" y="1680"/>
                <a:ext cx="21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01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58" name="Rectangle 186"/>
              <p:cNvSpPr>
                <a:spLocks noChangeArrowheads="1"/>
              </p:cNvSpPr>
              <p:nvPr/>
            </p:nvSpPr>
            <p:spPr bwMode="auto">
              <a:xfrm>
                <a:off x="705" y="1800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59" name="Rectangle 187"/>
              <p:cNvSpPr>
                <a:spLocks noChangeArrowheads="1"/>
              </p:cNvSpPr>
              <p:nvPr/>
            </p:nvSpPr>
            <p:spPr bwMode="auto">
              <a:xfrm>
                <a:off x="801" y="1808"/>
                <a:ext cx="2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FCTA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0" name="Rectangle 188"/>
              <p:cNvSpPr>
                <a:spLocks noChangeArrowheads="1"/>
              </p:cNvSpPr>
              <p:nvPr/>
            </p:nvSpPr>
            <p:spPr bwMode="auto">
              <a:xfrm>
                <a:off x="1010" y="1792"/>
                <a:ext cx="53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†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1" name="Rectangle 189"/>
              <p:cNvSpPr>
                <a:spLocks noChangeArrowheads="1"/>
              </p:cNvSpPr>
              <p:nvPr/>
            </p:nvSpPr>
            <p:spPr bwMode="auto">
              <a:xfrm>
                <a:off x="2414" y="1800"/>
                <a:ext cx="1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2" name="Rectangle 190"/>
              <p:cNvSpPr>
                <a:spLocks noChangeArrowheads="1"/>
              </p:cNvSpPr>
              <p:nvPr/>
            </p:nvSpPr>
            <p:spPr bwMode="auto">
              <a:xfrm>
                <a:off x="2117" y="1800"/>
                <a:ext cx="31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3" name="Rectangle 191"/>
              <p:cNvSpPr>
                <a:spLocks noChangeArrowheads="1"/>
              </p:cNvSpPr>
              <p:nvPr/>
            </p:nvSpPr>
            <p:spPr bwMode="auto">
              <a:xfrm>
                <a:off x="2398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4" name="Rectangle 192"/>
              <p:cNvSpPr>
                <a:spLocks noChangeArrowheads="1"/>
              </p:cNvSpPr>
              <p:nvPr/>
            </p:nvSpPr>
            <p:spPr bwMode="auto">
              <a:xfrm>
                <a:off x="2968" y="1800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4.6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5" name="Rectangle 193"/>
              <p:cNvSpPr>
                <a:spLocks noChangeArrowheads="1"/>
              </p:cNvSpPr>
              <p:nvPr/>
            </p:nvSpPr>
            <p:spPr bwMode="auto">
              <a:xfrm>
                <a:off x="2623" y="1800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6" name="Rectangle 194"/>
              <p:cNvSpPr>
                <a:spLocks noChangeArrowheads="1"/>
              </p:cNvSpPr>
              <p:nvPr/>
            </p:nvSpPr>
            <p:spPr bwMode="auto">
              <a:xfrm>
                <a:off x="2968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7" name="Rectangle 195"/>
              <p:cNvSpPr>
                <a:spLocks noChangeArrowheads="1"/>
              </p:cNvSpPr>
              <p:nvPr/>
            </p:nvSpPr>
            <p:spPr bwMode="auto">
              <a:xfrm>
                <a:off x="3417" y="1800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01.2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8" name="Rectangle 196"/>
              <p:cNvSpPr>
                <a:spLocks noChangeArrowheads="1"/>
              </p:cNvSpPr>
              <p:nvPr/>
            </p:nvSpPr>
            <p:spPr bwMode="auto">
              <a:xfrm>
                <a:off x="3305" y="1800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9" name="Rectangle 197"/>
              <p:cNvSpPr>
                <a:spLocks noChangeArrowheads="1"/>
              </p:cNvSpPr>
              <p:nvPr/>
            </p:nvSpPr>
            <p:spPr bwMode="auto">
              <a:xfrm>
                <a:off x="3417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0" name="Rectangle 198"/>
              <p:cNvSpPr>
                <a:spLocks noChangeArrowheads="1"/>
              </p:cNvSpPr>
              <p:nvPr/>
            </p:nvSpPr>
            <p:spPr bwMode="auto">
              <a:xfrm>
                <a:off x="3915" y="1800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06.1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1" name="Rectangle 199"/>
              <p:cNvSpPr>
                <a:spLocks noChangeArrowheads="1"/>
              </p:cNvSpPr>
              <p:nvPr/>
            </p:nvSpPr>
            <p:spPr bwMode="auto">
              <a:xfrm>
                <a:off x="3811" y="1800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2" name="Rectangle 200"/>
              <p:cNvSpPr>
                <a:spLocks noChangeArrowheads="1"/>
              </p:cNvSpPr>
              <p:nvPr/>
            </p:nvSpPr>
            <p:spPr bwMode="auto">
              <a:xfrm>
                <a:off x="3915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3" name="Rectangle 201"/>
              <p:cNvSpPr>
                <a:spLocks noChangeArrowheads="1"/>
              </p:cNvSpPr>
              <p:nvPr/>
            </p:nvSpPr>
            <p:spPr bwMode="auto">
              <a:xfrm>
                <a:off x="4421" y="1800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91.2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4" name="Rectangle 202"/>
              <p:cNvSpPr>
                <a:spLocks noChangeArrowheads="1"/>
              </p:cNvSpPr>
              <p:nvPr/>
            </p:nvSpPr>
            <p:spPr bwMode="auto">
              <a:xfrm>
                <a:off x="4308" y="1800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5" name="Rectangle 203"/>
              <p:cNvSpPr>
                <a:spLocks noChangeArrowheads="1"/>
              </p:cNvSpPr>
              <p:nvPr/>
            </p:nvSpPr>
            <p:spPr bwMode="auto">
              <a:xfrm>
                <a:off x="4421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6" name="Rectangle 204"/>
              <p:cNvSpPr>
                <a:spLocks noChangeArrowheads="1"/>
              </p:cNvSpPr>
              <p:nvPr/>
            </p:nvSpPr>
            <p:spPr bwMode="auto">
              <a:xfrm>
                <a:off x="5135" y="1800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898.6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7" name="Rectangle 205"/>
              <p:cNvSpPr>
                <a:spLocks noChangeArrowheads="1"/>
              </p:cNvSpPr>
              <p:nvPr/>
            </p:nvSpPr>
            <p:spPr bwMode="auto">
              <a:xfrm>
                <a:off x="4814" y="1800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479" name="Group 407"/>
            <p:cNvGrpSpPr>
              <a:grpSpLocks/>
            </p:cNvGrpSpPr>
            <p:nvPr/>
          </p:nvGrpSpPr>
          <p:grpSpPr bwMode="auto">
            <a:xfrm>
              <a:off x="657" y="1800"/>
              <a:ext cx="4783" cy="1279"/>
              <a:chOff x="657" y="1800"/>
              <a:chExt cx="4783" cy="1279"/>
            </a:xfrm>
          </p:grpSpPr>
          <p:sp>
            <p:nvSpPr>
              <p:cNvPr id="3279" name="Rectangle 207"/>
              <p:cNvSpPr>
                <a:spLocks noChangeArrowheads="1"/>
              </p:cNvSpPr>
              <p:nvPr/>
            </p:nvSpPr>
            <p:spPr bwMode="auto">
              <a:xfrm>
                <a:off x="5111" y="180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0" name="Rectangle 208"/>
              <p:cNvSpPr>
                <a:spLocks noChangeArrowheads="1"/>
              </p:cNvSpPr>
              <p:nvPr/>
            </p:nvSpPr>
            <p:spPr bwMode="auto">
              <a:xfrm>
                <a:off x="705" y="1928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1" name="Rectangle 209"/>
              <p:cNvSpPr>
                <a:spLocks noChangeArrowheads="1"/>
              </p:cNvSpPr>
              <p:nvPr/>
            </p:nvSpPr>
            <p:spPr bwMode="auto">
              <a:xfrm>
                <a:off x="801" y="1928"/>
                <a:ext cx="55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NIGER DELTA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2" name="Rectangle 210"/>
              <p:cNvSpPr>
                <a:spLocks noChangeArrowheads="1"/>
              </p:cNvSpPr>
              <p:nvPr/>
            </p:nvSpPr>
            <p:spPr bwMode="auto">
              <a:xfrm>
                <a:off x="1347" y="1920"/>
                <a:ext cx="53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†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3" name="Rectangle 211"/>
              <p:cNvSpPr>
                <a:spLocks noChangeArrowheads="1"/>
              </p:cNvSpPr>
              <p:nvPr/>
            </p:nvSpPr>
            <p:spPr bwMode="auto">
              <a:xfrm>
                <a:off x="2358" y="1928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2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4" name="Rectangle 212"/>
              <p:cNvSpPr>
                <a:spLocks noChangeArrowheads="1"/>
              </p:cNvSpPr>
              <p:nvPr/>
            </p:nvSpPr>
            <p:spPr bwMode="auto">
              <a:xfrm>
                <a:off x="2117" y="1928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5" name="Rectangle 213"/>
              <p:cNvSpPr>
                <a:spLocks noChangeArrowheads="1"/>
              </p:cNvSpPr>
              <p:nvPr/>
            </p:nvSpPr>
            <p:spPr bwMode="auto">
              <a:xfrm>
                <a:off x="2358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6" name="Rectangle 214"/>
              <p:cNvSpPr>
                <a:spLocks noChangeArrowheads="1"/>
              </p:cNvSpPr>
              <p:nvPr/>
            </p:nvSpPr>
            <p:spPr bwMode="auto">
              <a:xfrm>
                <a:off x="2968" y="1928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1.9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7" name="Rectangle 215"/>
              <p:cNvSpPr>
                <a:spLocks noChangeArrowheads="1"/>
              </p:cNvSpPr>
              <p:nvPr/>
            </p:nvSpPr>
            <p:spPr bwMode="auto">
              <a:xfrm>
                <a:off x="2623" y="1928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8" name="Rectangle 216"/>
              <p:cNvSpPr>
                <a:spLocks noChangeArrowheads="1"/>
              </p:cNvSpPr>
              <p:nvPr/>
            </p:nvSpPr>
            <p:spPr bwMode="auto">
              <a:xfrm>
                <a:off x="2968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9" name="Rectangle 217"/>
              <p:cNvSpPr>
                <a:spLocks noChangeArrowheads="1"/>
              </p:cNvSpPr>
              <p:nvPr/>
            </p:nvSpPr>
            <p:spPr bwMode="auto">
              <a:xfrm>
                <a:off x="3417" y="1928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856.7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0" name="Rectangle 218"/>
              <p:cNvSpPr>
                <a:spLocks noChangeArrowheads="1"/>
              </p:cNvSpPr>
              <p:nvPr/>
            </p:nvSpPr>
            <p:spPr bwMode="auto">
              <a:xfrm>
                <a:off x="3305" y="1928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1" name="Rectangle 219"/>
              <p:cNvSpPr>
                <a:spLocks noChangeArrowheads="1"/>
              </p:cNvSpPr>
              <p:nvPr/>
            </p:nvSpPr>
            <p:spPr bwMode="auto">
              <a:xfrm>
                <a:off x="3417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2" name="Rectangle 220"/>
              <p:cNvSpPr>
                <a:spLocks noChangeArrowheads="1"/>
              </p:cNvSpPr>
              <p:nvPr/>
            </p:nvSpPr>
            <p:spPr bwMode="auto">
              <a:xfrm>
                <a:off x="3915" y="1928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70.7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3" name="Rectangle 221"/>
              <p:cNvSpPr>
                <a:spLocks noChangeArrowheads="1"/>
              </p:cNvSpPr>
              <p:nvPr/>
            </p:nvSpPr>
            <p:spPr bwMode="auto">
              <a:xfrm>
                <a:off x="3811" y="1928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4" name="Rectangle 222"/>
              <p:cNvSpPr>
                <a:spLocks noChangeArrowheads="1"/>
              </p:cNvSpPr>
              <p:nvPr/>
            </p:nvSpPr>
            <p:spPr bwMode="auto">
              <a:xfrm>
                <a:off x="3915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5" name="Rectangle 223"/>
              <p:cNvSpPr>
                <a:spLocks noChangeArrowheads="1"/>
              </p:cNvSpPr>
              <p:nvPr/>
            </p:nvSpPr>
            <p:spPr bwMode="auto">
              <a:xfrm>
                <a:off x="4421" y="1928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09.9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6" name="Rectangle 224"/>
              <p:cNvSpPr>
                <a:spLocks noChangeArrowheads="1"/>
              </p:cNvSpPr>
              <p:nvPr/>
            </p:nvSpPr>
            <p:spPr bwMode="auto">
              <a:xfrm>
                <a:off x="4308" y="1928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7" name="Rectangle 225"/>
              <p:cNvSpPr>
                <a:spLocks noChangeArrowheads="1"/>
              </p:cNvSpPr>
              <p:nvPr/>
            </p:nvSpPr>
            <p:spPr bwMode="auto">
              <a:xfrm>
                <a:off x="4421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8" name="Rectangle 226"/>
              <p:cNvSpPr>
                <a:spLocks noChangeArrowheads="1"/>
              </p:cNvSpPr>
              <p:nvPr/>
            </p:nvSpPr>
            <p:spPr bwMode="auto">
              <a:xfrm>
                <a:off x="5055" y="1928"/>
                <a:ext cx="385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,937.3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9" name="Rectangle 227"/>
              <p:cNvSpPr>
                <a:spLocks noChangeArrowheads="1"/>
              </p:cNvSpPr>
              <p:nvPr/>
            </p:nvSpPr>
            <p:spPr bwMode="auto">
              <a:xfrm>
                <a:off x="4814" y="1928"/>
                <a:ext cx="24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0" name="Rectangle 228"/>
              <p:cNvSpPr>
                <a:spLocks noChangeArrowheads="1"/>
              </p:cNvSpPr>
              <p:nvPr/>
            </p:nvSpPr>
            <p:spPr bwMode="auto">
              <a:xfrm>
                <a:off x="5031" y="192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1" name="Rectangle 229"/>
              <p:cNvSpPr>
                <a:spLocks noChangeArrowheads="1"/>
              </p:cNvSpPr>
              <p:nvPr/>
            </p:nvSpPr>
            <p:spPr bwMode="auto">
              <a:xfrm>
                <a:off x="705" y="2048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2" name="Rectangle 230"/>
              <p:cNvSpPr>
                <a:spLocks noChangeArrowheads="1"/>
              </p:cNvSpPr>
              <p:nvPr/>
            </p:nvSpPr>
            <p:spPr bwMode="auto">
              <a:xfrm>
                <a:off x="801" y="2048"/>
                <a:ext cx="40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VIATION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3" name="Rectangle 231"/>
              <p:cNvSpPr>
                <a:spLocks noChangeArrowheads="1"/>
              </p:cNvSpPr>
              <p:nvPr/>
            </p:nvSpPr>
            <p:spPr bwMode="auto">
              <a:xfrm>
                <a:off x="2414" y="2048"/>
                <a:ext cx="1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9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4" name="Rectangle 232"/>
              <p:cNvSpPr>
                <a:spLocks noChangeArrowheads="1"/>
              </p:cNvSpPr>
              <p:nvPr/>
            </p:nvSpPr>
            <p:spPr bwMode="auto">
              <a:xfrm>
                <a:off x="2117" y="2048"/>
                <a:ext cx="31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5" name="Rectangle 233"/>
              <p:cNvSpPr>
                <a:spLocks noChangeArrowheads="1"/>
              </p:cNvSpPr>
              <p:nvPr/>
            </p:nvSpPr>
            <p:spPr bwMode="auto">
              <a:xfrm>
                <a:off x="2398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6" name="Rectangle 234"/>
              <p:cNvSpPr>
                <a:spLocks noChangeArrowheads="1"/>
              </p:cNvSpPr>
              <p:nvPr/>
            </p:nvSpPr>
            <p:spPr bwMode="auto">
              <a:xfrm>
                <a:off x="2968" y="2048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8.7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7" name="Rectangle 235"/>
              <p:cNvSpPr>
                <a:spLocks noChangeArrowheads="1"/>
              </p:cNvSpPr>
              <p:nvPr/>
            </p:nvSpPr>
            <p:spPr bwMode="auto">
              <a:xfrm>
                <a:off x="2623" y="2048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8" name="Rectangle 236"/>
              <p:cNvSpPr>
                <a:spLocks noChangeArrowheads="1"/>
              </p:cNvSpPr>
              <p:nvPr/>
            </p:nvSpPr>
            <p:spPr bwMode="auto">
              <a:xfrm>
                <a:off x="2968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9" name="Rectangle 237"/>
              <p:cNvSpPr>
                <a:spLocks noChangeArrowheads="1"/>
              </p:cNvSpPr>
              <p:nvPr/>
            </p:nvSpPr>
            <p:spPr bwMode="auto">
              <a:xfrm>
                <a:off x="3466" y="2048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91.2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0" name="Rectangle 238"/>
              <p:cNvSpPr>
                <a:spLocks noChangeArrowheads="1"/>
              </p:cNvSpPr>
              <p:nvPr/>
            </p:nvSpPr>
            <p:spPr bwMode="auto">
              <a:xfrm>
                <a:off x="3305" y="2048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1" name="Rectangle 239"/>
              <p:cNvSpPr>
                <a:spLocks noChangeArrowheads="1"/>
              </p:cNvSpPr>
              <p:nvPr/>
            </p:nvSpPr>
            <p:spPr bwMode="auto">
              <a:xfrm>
                <a:off x="3458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2" name="Rectangle 240"/>
              <p:cNvSpPr>
                <a:spLocks noChangeArrowheads="1"/>
              </p:cNvSpPr>
              <p:nvPr/>
            </p:nvSpPr>
            <p:spPr bwMode="auto">
              <a:xfrm>
                <a:off x="3971" y="2048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8.0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3" name="Rectangle 241"/>
              <p:cNvSpPr>
                <a:spLocks noChangeArrowheads="1"/>
              </p:cNvSpPr>
              <p:nvPr/>
            </p:nvSpPr>
            <p:spPr bwMode="auto">
              <a:xfrm>
                <a:off x="3811" y="2048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4" name="Rectangle 242"/>
              <p:cNvSpPr>
                <a:spLocks noChangeArrowheads="1"/>
              </p:cNvSpPr>
              <p:nvPr/>
            </p:nvSpPr>
            <p:spPr bwMode="auto">
              <a:xfrm>
                <a:off x="3963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5" name="Rectangle 243"/>
              <p:cNvSpPr>
                <a:spLocks noChangeArrowheads="1"/>
              </p:cNvSpPr>
              <p:nvPr/>
            </p:nvSpPr>
            <p:spPr bwMode="auto">
              <a:xfrm>
                <a:off x="4469" y="2048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78.99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6" name="Rectangle 244"/>
              <p:cNvSpPr>
                <a:spLocks noChangeArrowheads="1"/>
              </p:cNvSpPr>
              <p:nvPr/>
            </p:nvSpPr>
            <p:spPr bwMode="auto">
              <a:xfrm>
                <a:off x="4308" y="2048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7" name="Rectangle 245"/>
              <p:cNvSpPr>
                <a:spLocks noChangeArrowheads="1"/>
              </p:cNvSpPr>
              <p:nvPr/>
            </p:nvSpPr>
            <p:spPr bwMode="auto">
              <a:xfrm>
                <a:off x="4461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8" name="Rectangle 246"/>
              <p:cNvSpPr>
                <a:spLocks noChangeArrowheads="1"/>
              </p:cNvSpPr>
              <p:nvPr/>
            </p:nvSpPr>
            <p:spPr bwMode="auto">
              <a:xfrm>
                <a:off x="5135" y="2048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88.2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9" name="Rectangle 247"/>
              <p:cNvSpPr>
                <a:spLocks noChangeArrowheads="1"/>
              </p:cNvSpPr>
              <p:nvPr/>
            </p:nvSpPr>
            <p:spPr bwMode="auto">
              <a:xfrm>
                <a:off x="4814" y="2048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0" name="Rectangle 248"/>
              <p:cNvSpPr>
                <a:spLocks noChangeArrowheads="1"/>
              </p:cNvSpPr>
              <p:nvPr/>
            </p:nvSpPr>
            <p:spPr bwMode="auto">
              <a:xfrm>
                <a:off x="5111" y="2048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1" name="Rectangle 249"/>
              <p:cNvSpPr>
                <a:spLocks noChangeArrowheads="1"/>
              </p:cNvSpPr>
              <p:nvPr/>
            </p:nvSpPr>
            <p:spPr bwMode="auto">
              <a:xfrm>
                <a:off x="705" y="2160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2" name="Rectangle 250"/>
              <p:cNvSpPr>
                <a:spLocks noChangeArrowheads="1"/>
              </p:cNvSpPr>
              <p:nvPr/>
            </p:nvSpPr>
            <p:spPr bwMode="auto">
              <a:xfrm>
                <a:off x="801" y="2160"/>
                <a:ext cx="39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DEFENCE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3" name="Rectangle 251"/>
              <p:cNvSpPr>
                <a:spLocks noChangeArrowheads="1"/>
              </p:cNvSpPr>
              <p:nvPr/>
            </p:nvSpPr>
            <p:spPr bwMode="auto">
              <a:xfrm>
                <a:off x="2358" y="2160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0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4" name="Rectangle 252"/>
              <p:cNvSpPr>
                <a:spLocks noChangeArrowheads="1"/>
              </p:cNvSpPr>
              <p:nvPr/>
            </p:nvSpPr>
            <p:spPr bwMode="auto">
              <a:xfrm>
                <a:off x="2117" y="2160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5" name="Rectangle 253"/>
              <p:cNvSpPr>
                <a:spLocks noChangeArrowheads="1"/>
              </p:cNvSpPr>
              <p:nvPr/>
            </p:nvSpPr>
            <p:spPr bwMode="auto">
              <a:xfrm>
                <a:off x="2358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6" name="Rectangle 254"/>
              <p:cNvSpPr>
                <a:spLocks noChangeArrowheads="1"/>
              </p:cNvSpPr>
              <p:nvPr/>
            </p:nvSpPr>
            <p:spPr bwMode="auto">
              <a:xfrm>
                <a:off x="2968" y="2160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8.2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7" name="Rectangle 255"/>
              <p:cNvSpPr>
                <a:spLocks noChangeArrowheads="1"/>
              </p:cNvSpPr>
              <p:nvPr/>
            </p:nvSpPr>
            <p:spPr bwMode="auto">
              <a:xfrm>
                <a:off x="2623" y="2160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8" name="Rectangle 256"/>
              <p:cNvSpPr>
                <a:spLocks noChangeArrowheads="1"/>
              </p:cNvSpPr>
              <p:nvPr/>
            </p:nvSpPr>
            <p:spPr bwMode="auto">
              <a:xfrm>
                <a:off x="2968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9" name="Rectangle 257"/>
              <p:cNvSpPr>
                <a:spLocks noChangeArrowheads="1"/>
              </p:cNvSpPr>
              <p:nvPr/>
            </p:nvSpPr>
            <p:spPr bwMode="auto">
              <a:xfrm>
                <a:off x="3417" y="2160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10.0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0" name="Rectangle 258"/>
              <p:cNvSpPr>
                <a:spLocks noChangeArrowheads="1"/>
              </p:cNvSpPr>
              <p:nvPr/>
            </p:nvSpPr>
            <p:spPr bwMode="auto">
              <a:xfrm>
                <a:off x="3305" y="2160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1" name="Rectangle 259"/>
              <p:cNvSpPr>
                <a:spLocks noChangeArrowheads="1"/>
              </p:cNvSpPr>
              <p:nvPr/>
            </p:nvSpPr>
            <p:spPr bwMode="auto">
              <a:xfrm>
                <a:off x="3417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2" name="Rectangle 260"/>
              <p:cNvSpPr>
                <a:spLocks noChangeArrowheads="1"/>
              </p:cNvSpPr>
              <p:nvPr/>
            </p:nvSpPr>
            <p:spPr bwMode="auto">
              <a:xfrm>
                <a:off x="3971" y="2160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9.4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3" name="Rectangle 261"/>
              <p:cNvSpPr>
                <a:spLocks noChangeArrowheads="1"/>
              </p:cNvSpPr>
              <p:nvPr/>
            </p:nvSpPr>
            <p:spPr bwMode="auto">
              <a:xfrm>
                <a:off x="3811" y="2160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4" name="Rectangle 262"/>
              <p:cNvSpPr>
                <a:spLocks noChangeArrowheads="1"/>
              </p:cNvSpPr>
              <p:nvPr/>
            </p:nvSpPr>
            <p:spPr bwMode="auto">
              <a:xfrm>
                <a:off x="3963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5" name="Rectangle 263"/>
              <p:cNvSpPr>
                <a:spLocks noChangeArrowheads="1"/>
              </p:cNvSpPr>
              <p:nvPr/>
            </p:nvSpPr>
            <p:spPr bwMode="auto">
              <a:xfrm>
                <a:off x="4469" y="2160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9.8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6" name="Rectangle 264"/>
              <p:cNvSpPr>
                <a:spLocks noChangeArrowheads="1"/>
              </p:cNvSpPr>
              <p:nvPr/>
            </p:nvSpPr>
            <p:spPr bwMode="auto">
              <a:xfrm>
                <a:off x="4308" y="2160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7" name="Rectangle 265"/>
              <p:cNvSpPr>
                <a:spLocks noChangeArrowheads="1"/>
              </p:cNvSpPr>
              <p:nvPr/>
            </p:nvSpPr>
            <p:spPr bwMode="auto">
              <a:xfrm>
                <a:off x="4461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8" name="Rectangle 266"/>
              <p:cNvSpPr>
                <a:spLocks noChangeArrowheads="1"/>
              </p:cNvSpPr>
              <p:nvPr/>
            </p:nvSpPr>
            <p:spPr bwMode="auto">
              <a:xfrm>
                <a:off x="5135" y="2160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89.3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9" name="Rectangle 267"/>
              <p:cNvSpPr>
                <a:spLocks noChangeArrowheads="1"/>
              </p:cNvSpPr>
              <p:nvPr/>
            </p:nvSpPr>
            <p:spPr bwMode="auto">
              <a:xfrm>
                <a:off x="4814" y="2160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0" name="Rectangle 268"/>
              <p:cNvSpPr>
                <a:spLocks noChangeArrowheads="1"/>
              </p:cNvSpPr>
              <p:nvPr/>
            </p:nvSpPr>
            <p:spPr bwMode="auto">
              <a:xfrm>
                <a:off x="5111" y="2160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1" name="Rectangle 269"/>
              <p:cNvSpPr>
                <a:spLocks noChangeArrowheads="1"/>
              </p:cNvSpPr>
              <p:nvPr/>
            </p:nvSpPr>
            <p:spPr bwMode="auto">
              <a:xfrm>
                <a:off x="705" y="2272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2" name="Rectangle 270"/>
              <p:cNvSpPr>
                <a:spLocks noChangeArrowheads="1"/>
              </p:cNvSpPr>
              <p:nvPr/>
            </p:nvSpPr>
            <p:spPr bwMode="auto">
              <a:xfrm>
                <a:off x="801" y="2272"/>
                <a:ext cx="5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EDUCATION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3" name="Rectangle 271"/>
              <p:cNvSpPr>
                <a:spLocks noChangeArrowheads="1"/>
              </p:cNvSpPr>
              <p:nvPr/>
            </p:nvSpPr>
            <p:spPr bwMode="auto">
              <a:xfrm>
                <a:off x="2278" y="227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,37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4" name="Rectangle 272"/>
              <p:cNvSpPr>
                <a:spLocks noChangeArrowheads="1"/>
              </p:cNvSpPr>
              <p:nvPr/>
            </p:nvSpPr>
            <p:spPr bwMode="auto">
              <a:xfrm>
                <a:off x="2117" y="2272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5" name="Rectangle 273"/>
              <p:cNvSpPr>
                <a:spLocks noChangeArrowheads="1"/>
              </p:cNvSpPr>
              <p:nvPr/>
            </p:nvSpPr>
            <p:spPr bwMode="auto">
              <a:xfrm>
                <a:off x="2270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6" name="Rectangle 274"/>
              <p:cNvSpPr>
                <a:spLocks noChangeArrowheads="1"/>
              </p:cNvSpPr>
              <p:nvPr/>
            </p:nvSpPr>
            <p:spPr bwMode="auto">
              <a:xfrm>
                <a:off x="2968" y="227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1.8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7" name="Rectangle 275"/>
              <p:cNvSpPr>
                <a:spLocks noChangeArrowheads="1"/>
              </p:cNvSpPr>
              <p:nvPr/>
            </p:nvSpPr>
            <p:spPr bwMode="auto">
              <a:xfrm>
                <a:off x="2623" y="2272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8" name="Rectangle 276"/>
              <p:cNvSpPr>
                <a:spLocks noChangeArrowheads="1"/>
              </p:cNvSpPr>
              <p:nvPr/>
            </p:nvSpPr>
            <p:spPr bwMode="auto">
              <a:xfrm>
                <a:off x="2968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9" name="Rectangle 277"/>
              <p:cNvSpPr>
                <a:spLocks noChangeArrowheads="1"/>
              </p:cNvSpPr>
              <p:nvPr/>
            </p:nvSpPr>
            <p:spPr bwMode="auto">
              <a:xfrm>
                <a:off x="3466" y="227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5.3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0" name="Rectangle 278"/>
              <p:cNvSpPr>
                <a:spLocks noChangeArrowheads="1"/>
              </p:cNvSpPr>
              <p:nvPr/>
            </p:nvSpPr>
            <p:spPr bwMode="auto">
              <a:xfrm>
                <a:off x="3305" y="2272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1" name="Rectangle 279"/>
              <p:cNvSpPr>
                <a:spLocks noChangeArrowheads="1"/>
              </p:cNvSpPr>
              <p:nvPr/>
            </p:nvSpPr>
            <p:spPr bwMode="auto">
              <a:xfrm>
                <a:off x="3458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2" name="Rectangle 280"/>
              <p:cNvSpPr>
                <a:spLocks noChangeArrowheads="1"/>
              </p:cNvSpPr>
              <p:nvPr/>
            </p:nvSpPr>
            <p:spPr bwMode="auto">
              <a:xfrm>
                <a:off x="3971" y="227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0.3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3" name="Rectangle 281"/>
              <p:cNvSpPr>
                <a:spLocks noChangeArrowheads="1"/>
              </p:cNvSpPr>
              <p:nvPr/>
            </p:nvSpPr>
            <p:spPr bwMode="auto">
              <a:xfrm>
                <a:off x="3811" y="2272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4" name="Rectangle 282"/>
              <p:cNvSpPr>
                <a:spLocks noChangeArrowheads="1"/>
              </p:cNvSpPr>
              <p:nvPr/>
            </p:nvSpPr>
            <p:spPr bwMode="auto">
              <a:xfrm>
                <a:off x="3963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5" name="Rectangle 283"/>
              <p:cNvSpPr>
                <a:spLocks noChangeArrowheads="1"/>
              </p:cNvSpPr>
              <p:nvPr/>
            </p:nvSpPr>
            <p:spPr bwMode="auto">
              <a:xfrm>
                <a:off x="4469" y="227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0.1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6" name="Rectangle 284"/>
              <p:cNvSpPr>
                <a:spLocks noChangeArrowheads="1"/>
              </p:cNvSpPr>
              <p:nvPr/>
            </p:nvSpPr>
            <p:spPr bwMode="auto">
              <a:xfrm>
                <a:off x="4308" y="2272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7" name="Rectangle 285"/>
              <p:cNvSpPr>
                <a:spLocks noChangeArrowheads="1"/>
              </p:cNvSpPr>
              <p:nvPr/>
            </p:nvSpPr>
            <p:spPr bwMode="auto">
              <a:xfrm>
                <a:off x="4461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8" name="Rectangle 286"/>
              <p:cNvSpPr>
                <a:spLocks noChangeArrowheads="1"/>
              </p:cNvSpPr>
              <p:nvPr/>
            </p:nvSpPr>
            <p:spPr bwMode="auto">
              <a:xfrm>
                <a:off x="5135" y="2272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25.8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9" name="Rectangle 287"/>
              <p:cNvSpPr>
                <a:spLocks noChangeArrowheads="1"/>
              </p:cNvSpPr>
              <p:nvPr/>
            </p:nvSpPr>
            <p:spPr bwMode="auto">
              <a:xfrm>
                <a:off x="4814" y="2272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0" name="Rectangle 288"/>
              <p:cNvSpPr>
                <a:spLocks noChangeArrowheads="1"/>
              </p:cNvSpPr>
              <p:nvPr/>
            </p:nvSpPr>
            <p:spPr bwMode="auto">
              <a:xfrm>
                <a:off x="5111" y="227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1" name="Rectangle 289"/>
              <p:cNvSpPr>
                <a:spLocks noChangeArrowheads="1"/>
              </p:cNvSpPr>
              <p:nvPr/>
            </p:nvSpPr>
            <p:spPr bwMode="auto">
              <a:xfrm>
                <a:off x="705" y="2392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2" name="Rectangle 290"/>
              <p:cNvSpPr>
                <a:spLocks noChangeArrowheads="1"/>
              </p:cNvSpPr>
              <p:nvPr/>
            </p:nvSpPr>
            <p:spPr bwMode="auto">
              <a:xfrm>
                <a:off x="801" y="2392"/>
                <a:ext cx="329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HEALTH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3" name="Rectangle 291"/>
              <p:cNvSpPr>
                <a:spLocks noChangeArrowheads="1"/>
              </p:cNvSpPr>
              <p:nvPr/>
            </p:nvSpPr>
            <p:spPr bwMode="auto">
              <a:xfrm>
                <a:off x="2358" y="2392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96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4" name="Rectangle 292"/>
              <p:cNvSpPr>
                <a:spLocks noChangeArrowheads="1"/>
              </p:cNvSpPr>
              <p:nvPr/>
            </p:nvSpPr>
            <p:spPr bwMode="auto">
              <a:xfrm>
                <a:off x="2117" y="2392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5" name="Rectangle 293"/>
              <p:cNvSpPr>
                <a:spLocks noChangeArrowheads="1"/>
              </p:cNvSpPr>
              <p:nvPr/>
            </p:nvSpPr>
            <p:spPr bwMode="auto">
              <a:xfrm>
                <a:off x="2358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6" name="Rectangle 294"/>
              <p:cNvSpPr>
                <a:spLocks noChangeArrowheads="1"/>
              </p:cNvSpPr>
              <p:nvPr/>
            </p:nvSpPr>
            <p:spPr bwMode="auto">
              <a:xfrm>
                <a:off x="2968" y="2392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5.4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7" name="Rectangle 295"/>
              <p:cNvSpPr>
                <a:spLocks noChangeArrowheads="1"/>
              </p:cNvSpPr>
              <p:nvPr/>
            </p:nvSpPr>
            <p:spPr bwMode="auto">
              <a:xfrm>
                <a:off x="2623" y="2392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8" name="Rectangle 296"/>
              <p:cNvSpPr>
                <a:spLocks noChangeArrowheads="1"/>
              </p:cNvSpPr>
              <p:nvPr/>
            </p:nvSpPr>
            <p:spPr bwMode="auto">
              <a:xfrm>
                <a:off x="2968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9" name="Rectangle 297"/>
              <p:cNvSpPr>
                <a:spLocks noChangeArrowheads="1"/>
              </p:cNvSpPr>
              <p:nvPr/>
            </p:nvSpPr>
            <p:spPr bwMode="auto">
              <a:xfrm>
                <a:off x="3417" y="2392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61.6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0" name="Rectangle 298"/>
              <p:cNvSpPr>
                <a:spLocks noChangeArrowheads="1"/>
              </p:cNvSpPr>
              <p:nvPr/>
            </p:nvSpPr>
            <p:spPr bwMode="auto">
              <a:xfrm>
                <a:off x="3305" y="2392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1" name="Rectangle 299"/>
              <p:cNvSpPr>
                <a:spLocks noChangeArrowheads="1"/>
              </p:cNvSpPr>
              <p:nvPr/>
            </p:nvSpPr>
            <p:spPr bwMode="auto">
              <a:xfrm>
                <a:off x="3417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2" name="Rectangle 300"/>
              <p:cNvSpPr>
                <a:spLocks noChangeArrowheads="1"/>
              </p:cNvSpPr>
              <p:nvPr/>
            </p:nvSpPr>
            <p:spPr bwMode="auto">
              <a:xfrm>
                <a:off x="3915" y="2392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23.5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3" name="Rectangle 301"/>
              <p:cNvSpPr>
                <a:spLocks noChangeArrowheads="1"/>
              </p:cNvSpPr>
              <p:nvPr/>
            </p:nvSpPr>
            <p:spPr bwMode="auto">
              <a:xfrm>
                <a:off x="3811" y="2392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4" name="Rectangle 302"/>
              <p:cNvSpPr>
                <a:spLocks noChangeArrowheads="1"/>
              </p:cNvSpPr>
              <p:nvPr/>
            </p:nvSpPr>
            <p:spPr bwMode="auto">
              <a:xfrm>
                <a:off x="3915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5" name="Rectangle 303"/>
              <p:cNvSpPr>
                <a:spLocks noChangeArrowheads="1"/>
              </p:cNvSpPr>
              <p:nvPr/>
            </p:nvSpPr>
            <p:spPr bwMode="auto">
              <a:xfrm>
                <a:off x="4421" y="2392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18.0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6" name="Rectangle 304"/>
              <p:cNvSpPr>
                <a:spLocks noChangeArrowheads="1"/>
              </p:cNvSpPr>
              <p:nvPr/>
            </p:nvSpPr>
            <p:spPr bwMode="auto">
              <a:xfrm>
                <a:off x="4308" y="2392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7" name="Rectangle 305"/>
              <p:cNvSpPr>
                <a:spLocks noChangeArrowheads="1"/>
              </p:cNvSpPr>
              <p:nvPr/>
            </p:nvSpPr>
            <p:spPr bwMode="auto">
              <a:xfrm>
                <a:off x="4421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8" name="Rectangle 306"/>
              <p:cNvSpPr>
                <a:spLocks noChangeArrowheads="1"/>
              </p:cNvSpPr>
              <p:nvPr/>
            </p:nvSpPr>
            <p:spPr bwMode="auto">
              <a:xfrm>
                <a:off x="5135" y="2392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03.2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9" name="Rectangle 307"/>
              <p:cNvSpPr>
                <a:spLocks noChangeArrowheads="1"/>
              </p:cNvSpPr>
              <p:nvPr/>
            </p:nvSpPr>
            <p:spPr bwMode="auto">
              <a:xfrm>
                <a:off x="4814" y="2392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0" name="Rectangle 308"/>
              <p:cNvSpPr>
                <a:spLocks noChangeArrowheads="1"/>
              </p:cNvSpPr>
              <p:nvPr/>
            </p:nvSpPr>
            <p:spPr bwMode="auto">
              <a:xfrm>
                <a:off x="5111" y="2392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1" name="Rectangle 309"/>
              <p:cNvSpPr>
                <a:spLocks noChangeArrowheads="1"/>
              </p:cNvSpPr>
              <p:nvPr/>
            </p:nvSpPr>
            <p:spPr bwMode="auto">
              <a:xfrm>
                <a:off x="705" y="2504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2" name="Rectangle 310"/>
              <p:cNvSpPr>
                <a:spLocks noChangeArrowheads="1"/>
              </p:cNvSpPr>
              <p:nvPr/>
            </p:nvSpPr>
            <p:spPr bwMode="auto">
              <a:xfrm>
                <a:off x="801" y="2504"/>
                <a:ext cx="40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NTERIOR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3" name="Rectangle 311"/>
              <p:cNvSpPr>
                <a:spLocks noChangeArrowheads="1"/>
              </p:cNvSpPr>
              <p:nvPr/>
            </p:nvSpPr>
            <p:spPr bwMode="auto">
              <a:xfrm>
                <a:off x="2358" y="2504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2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4" name="Rectangle 312"/>
              <p:cNvSpPr>
                <a:spLocks noChangeArrowheads="1"/>
              </p:cNvSpPr>
              <p:nvPr/>
            </p:nvSpPr>
            <p:spPr bwMode="auto">
              <a:xfrm>
                <a:off x="2117" y="2504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5" name="Rectangle 313"/>
              <p:cNvSpPr>
                <a:spLocks noChangeArrowheads="1"/>
              </p:cNvSpPr>
              <p:nvPr/>
            </p:nvSpPr>
            <p:spPr bwMode="auto">
              <a:xfrm>
                <a:off x="2358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6" name="Rectangle 314"/>
              <p:cNvSpPr>
                <a:spLocks noChangeArrowheads="1"/>
              </p:cNvSpPr>
              <p:nvPr/>
            </p:nvSpPr>
            <p:spPr bwMode="auto">
              <a:xfrm>
                <a:off x="3016" y="2504"/>
                <a:ext cx="18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.7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7" name="Rectangle 315"/>
              <p:cNvSpPr>
                <a:spLocks noChangeArrowheads="1"/>
              </p:cNvSpPr>
              <p:nvPr/>
            </p:nvSpPr>
            <p:spPr bwMode="auto">
              <a:xfrm>
                <a:off x="2623" y="2504"/>
                <a:ext cx="43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8" name="Rectangle 316"/>
              <p:cNvSpPr>
                <a:spLocks noChangeArrowheads="1"/>
              </p:cNvSpPr>
              <p:nvPr/>
            </p:nvSpPr>
            <p:spPr bwMode="auto">
              <a:xfrm>
                <a:off x="3008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9" name="Rectangle 317"/>
              <p:cNvSpPr>
                <a:spLocks noChangeArrowheads="1"/>
              </p:cNvSpPr>
              <p:nvPr/>
            </p:nvSpPr>
            <p:spPr bwMode="auto">
              <a:xfrm>
                <a:off x="3466" y="2504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6.3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0" name="Rectangle 318"/>
              <p:cNvSpPr>
                <a:spLocks noChangeArrowheads="1"/>
              </p:cNvSpPr>
              <p:nvPr/>
            </p:nvSpPr>
            <p:spPr bwMode="auto">
              <a:xfrm>
                <a:off x="3305" y="2504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1" name="Rectangle 319"/>
              <p:cNvSpPr>
                <a:spLocks noChangeArrowheads="1"/>
              </p:cNvSpPr>
              <p:nvPr/>
            </p:nvSpPr>
            <p:spPr bwMode="auto">
              <a:xfrm>
                <a:off x="3458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2" name="Rectangle 320"/>
              <p:cNvSpPr>
                <a:spLocks noChangeArrowheads="1"/>
              </p:cNvSpPr>
              <p:nvPr/>
            </p:nvSpPr>
            <p:spPr bwMode="auto">
              <a:xfrm>
                <a:off x="3971" y="2504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5.5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3" name="Rectangle 321"/>
              <p:cNvSpPr>
                <a:spLocks noChangeArrowheads="1"/>
              </p:cNvSpPr>
              <p:nvPr/>
            </p:nvSpPr>
            <p:spPr bwMode="auto">
              <a:xfrm>
                <a:off x="3811" y="2504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4" name="Rectangle 322"/>
              <p:cNvSpPr>
                <a:spLocks noChangeArrowheads="1"/>
              </p:cNvSpPr>
              <p:nvPr/>
            </p:nvSpPr>
            <p:spPr bwMode="auto">
              <a:xfrm>
                <a:off x="3963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5" name="Rectangle 323"/>
              <p:cNvSpPr>
                <a:spLocks noChangeArrowheads="1"/>
              </p:cNvSpPr>
              <p:nvPr/>
            </p:nvSpPr>
            <p:spPr bwMode="auto">
              <a:xfrm>
                <a:off x="4469" y="2504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4.8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6" name="Rectangle 324"/>
              <p:cNvSpPr>
                <a:spLocks noChangeArrowheads="1"/>
              </p:cNvSpPr>
              <p:nvPr/>
            </p:nvSpPr>
            <p:spPr bwMode="auto">
              <a:xfrm>
                <a:off x="4308" y="2504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7" name="Rectangle 325"/>
              <p:cNvSpPr>
                <a:spLocks noChangeArrowheads="1"/>
              </p:cNvSpPr>
              <p:nvPr/>
            </p:nvSpPr>
            <p:spPr bwMode="auto">
              <a:xfrm>
                <a:off x="4461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8" name="Rectangle 326"/>
              <p:cNvSpPr>
                <a:spLocks noChangeArrowheads="1"/>
              </p:cNvSpPr>
              <p:nvPr/>
            </p:nvSpPr>
            <p:spPr bwMode="auto">
              <a:xfrm>
                <a:off x="5191" y="2504"/>
                <a:ext cx="242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6.7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9" name="Rectangle 327"/>
              <p:cNvSpPr>
                <a:spLocks noChangeArrowheads="1"/>
              </p:cNvSpPr>
              <p:nvPr/>
            </p:nvSpPr>
            <p:spPr bwMode="auto">
              <a:xfrm>
                <a:off x="4814" y="2504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0" name="Rectangle 328"/>
              <p:cNvSpPr>
                <a:spLocks noChangeArrowheads="1"/>
              </p:cNvSpPr>
              <p:nvPr/>
            </p:nvSpPr>
            <p:spPr bwMode="auto">
              <a:xfrm>
                <a:off x="5159" y="2504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1" name="Rectangle 329"/>
              <p:cNvSpPr>
                <a:spLocks noChangeArrowheads="1"/>
              </p:cNvSpPr>
              <p:nvPr/>
            </p:nvSpPr>
            <p:spPr bwMode="auto">
              <a:xfrm>
                <a:off x="705" y="2616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2" name="Rectangle 330"/>
              <p:cNvSpPr>
                <a:spLocks noChangeArrowheads="1"/>
              </p:cNvSpPr>
              <p:nvPr/>
            </p:nvSpPr>
            <p:spPr bwMode="auto">
              <a:xfrm>
                <a:off x="801" y="2616"/>
                <a:ext cx="305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LICE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3" name="Rectangle 331"/>
              <p:cNvSpPr>
                <a:spLocks noChangeArrowheads="1"/>
              </p:cNvSpPr>
              <p:nvPr/>
            </p:nvSpPr>
            <p:spPr bwMode="auto">
              <a:xfrm>
                <a:off x="2358" y="2616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2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4" name="Rectangle 332"/>
              <p:cNvSpPr>
                <a:spLocks noChangeArrowheads="1"/>
              </p:cNvSpPr>
              <p:nvPr/>
            </p:nvSpPr>
            <p:spPr bwMode="auto">
              <a:xfrm>
                <a:off x="2117" y="2616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5" name="Rectangle 333"/>
              <p:cNvSpPr>
                <a:spLocks noChangeArrowheads="1"/>
              </p:cNvSpPr>
              <p:nvPr/>
            </p:nvSpPr>
            <p:spPr bwMode="auto">
              <a:xfrm>
                <a:off x="2358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6" name="Rectangle 334"/>
              <p:cNvSpPr>
                <a:spLocks noChangeArrowheads="1"/>
              </p:cNvSpPr>
              <p:nvPr/>
            </p:nvSpPr>
            <p:spPr bwMode="auto">
              <a:xfrm>
                <a:off x="2968" y="2616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0.0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7" name="Rectangle 335"/>
              <p:cNvSpPr>
                <a:spLocks noChangeArrowheads="1"/>
              </p:cNvSpPr>
              <p:nvPr/>
            </p:nvSpPr>
            <p:spPr bwMode="auto">
              <a:xfrm>
                <a:off x="2623" y="2616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8" name="Rectangle 336"/>
              <p:cNvSpPr>
                <a:spLocks noChangeArrowheads="1"/>
              </p:cNvSpPr>
              <p:nvPr/>
            </p:nvSpPr>
            <p:spPr bwMode="auto">
              <a:xfrm>
                <a:off x="2968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9" name="Rectangle 337"/>
              <p:cNvSpPr>
                <a:spLocks noChangeArrowheads="1"/>
              </p:cNvSpPr>
              <p:nvPr/>
            </p:nvSpPr>
            <p:spPr bwMode="auto">
              <a:xfrm>
                <a:off x="3466" y="2616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2.2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0" name="Rectangle 338"/>
              <p:cNvSpPr>
                <a:spLocks noChangeArrowheads="1"/>
              </p:cNvSpPr>
              <p:nvPr/>
            </p:nvSpPr>
            <p:spPr bwMode="auto">
              <a:xfrm>
                <a:off x="3305" y="2616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1" name="Rectangle 339"/>
              <p:cNvSpPr>
                <a:spLocks noChangeArrowheads="1"/>
              </p:cNvSpPr>
              <p:nvPr/>
            </p:nvSpPr>
            <p:spPr bwMode="auto">
              <a:xfrm>
                <a:off x="3458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2" name="Rectangle 340"/>
              <p:cNvSpPr>
                <a:spLocks noChangeArrowheads="1"/>
              </p:cNvSpPr>
              <p:nvPr/>
            </p:nvSpPr>
            <p:spPr bwMode="auto">
              <a:xfrm>
                <a:off x="3971" y="2616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0.8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3" name="Rectangle 341"/>
              <p:cNvSpPr>
                <a:spLocks noChangeArrowheads="1"/>
              </p:cNvSpPr>
              <p:nvPr/>
            </p:nvSpPr>
            <p:spPr bwMode="auto">
              <a:xfrm>
                <a:off x="3811" y="2616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4" name="Rectangle 342"/>
              <p:cNvSpPr>
                <a:spLocks noChangeArrowheads="1"/>
              </p:cNvSpPr>
              <p:nvPr/>
            </p:nvSpPr>
            <p:spPr bwMode="auto">
              <a:xfrm>
                <a:off x="3963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5" name="Rectangle 343"/>
              <p:cNvSpPr>
                <a:spLocks noChangeArrowheads="1"/>
              </p:cNvSpPr>
              <p:nvPr/>
            </p:nvSpPr>
            <p:spPr bwMode="auto">
              <a:xfrm>
                <a:off x="4469" y="2616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8.24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6" name="Rectangle 344"/>
              <p:cNvSpPr>
                <a:spLocks noChangeArrowheads="1"/>
              </p:cNvSpPr>
              <p:nvPr/>
            </p:nvSpPr>
            <p:spPr bwMode="auto">
              <a:xfrm>
                <a:off x="4308" y="2616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7" name="Rectangle 345"/>
              <p:cNvSpPr>
                <a:spLocks noChangeArrowheads="1"/>
              </p:cNvSpPr>
              <p:nvPr/>
            </p:nvSpPr>
            <p:spPr bwMode="auto">
              <a:xfrm>
                <a:off x="4461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8" name="Rectangle 346"/>
              <p:cNvSpPr>
                <a:spLocks noChangeArrowheads="1"/>
              </p:cNvSpPr>
              <p:nvPr/>
            </p:nvSpPr>
            <p:spPr bwMode="auto">
              <a:xfrm>
                <a:off x="5135" y="2616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81.3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9" name="Rectangle 347"/>
              <p:cNvSpPr>
                <a:spLocks noChangeArrowheads="1"/>
              </p:cNvSpPr>
              <p:nvPr/>
            </p:nvSpPr>
            <p:spPr bwMode="auto">
              <a:xfrm>
                <a:off x="4814" y="2616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0" name="Rectangle 348"/>
              <p:cNvSpPr>
                <a:spLocks noChangeArrowheads="1"/>
              </p:cNvSpPr>
              <p:nvPr/>
            </p:nvSpPr>
            <p:spPr bwMode="auto">
              <a:xfrm>
                <a:off x="5111" y="2616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1" name="Rectangle 349"/>
              <p:cNvSpPr>
                <a:spLocks noChangeArrowheads="1"/>
              </p:cNvSpPr>
              <p:nvPr/>
            </p:nvSpPr>
            <p:spPr bwMode="auto">
              <a:xfrm>
                <a:off x="705" y="2727"/>
                <a:ext cx="5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9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2" name="Rectangle 350"/>
              <p:cNvSpPr>
                <a:spLocks noChangeArrowheads="1"/>
              </p:cNvSpPr>
              <p:nvPr/>
            </p:nvSpPr>
            <p:spPr bwMode="auto">
              <a:xfrm>
                <a:off x="801" y="2727"/>
                <a:ext cx="32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WER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3" name="Rectangle 351"/>
              <p:cNvSpPr>
                <a:spLocks noChangeArrowheads="1"/>
              </p:cNvSpPr>
              <p:nvPr/>
            </p:nvSpPr>
            <p:spPr bwMode="auto">
              <a:xfrm>
                <a:off x="2358" y="2727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3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4" name="Rectangle 352"/>
              <p:cNvSpPr>
                <a:spLocks noChangeArrowheads="1"/>
              </p:cNvSpPr>
              <p:nvPr/>
            </p:nvSpPr>
            <p:spPr bwMode="auto">
              <a:xfrm>
                <a:off x="2117" y="2727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5" name="Rectangle 353"/>
              <p:cNvSpPr>
                <a:spLocks noChangeArrowheads="1"/>
              </p:cNvSpPr>
              <p:nvPr/>
            </p:nvSpPr>
            <p:spPr bwMode="auto">
              <a:xfrm>
                <a:off x="2358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6" name="Rectangle 354"/>
              <p:cNvSpPr>
                <a:spLocks noChangeArrowheads="1"/>
              </p:cNvSpPr>
              <p:nvPr/>
            </p:nvSpPr>
            <p:spPr bwMode="auto">
              <a:xfrm>
                <a:off x="2968" y="2727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87.2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7" name="Rectangle 355"/>
              <p:cNvSpPr>
                <a:spLocks noChangeArrowheads="1"/>
              </p:cNvSpPr>
              <p:nvPr/>
            </p:nvSpPr>
            <p:spPr bwMode="auto">
              <a:xfrm>
                <a:off x="2623" y="2727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8" name="Rectangle 356"/>
              <p:cNvSpPr>
                <a:spLocks noChangeArrowheads="1"/>
              </p:cNvSpPr>
              <p:nvPr/>
            </p:nvSpPr>
            <p:spPr bwMode="auto">
              <a:xfrm>
                <a:off x="2968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9" name="Rectangle 357"/>
              <p:cNvSpPr>
                <a:spLocks noChangeArrowheads="1"/>
              </p:cNvSpPr>
              <p:nvPr/>
            </p:nvSpPr>
            <p:spPr bwMode="auto">
              <a:xfrm>
                <a:off x="3466" y="2727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78.6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0" name="Rectangle 358"/>
              <p:cNvSpPr>
                <a:spLocks noChangeArrowheads="1"/>
              </p:cNvSpPr>
              <p:nvPr/>
            </p:nvSpPr>
            <p:spPr bwMode="auto">
              <a:xfrm>
                <a:off x="3305" y="2727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1" name="Rectangle 359"/>
              <p:cNvSpPr>
                <a:spLocks noChangeArrowheads="1"/>
              </p:cNvSpPr>
              <p:nvPr/>
            </p:nvSpPr>
            <p:spPr bwMode="auto">
              <a:xfrm>
                <a:off x="3458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2" name="Rectangle 360"/>
              <p:cNvSpPr>
                <a:spLocks noChangeArrowheads="1"/>
              </p:cNvSpPr>
              <p:nvPr/>
            </p:nvSpPr>
            <p:spPr bwMode="auto">
              <a:xfrm>
                <a:off x="3915" y="2727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49.5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3" name="Rectangle 361"/>
              <p:cNvSpPr>
                <a:spLocks noChangeArrowheads="1"/>
              </p:cNvSpPr>
              <p:nvPr/>
            </p:nvSpPr>
            <p:spPr bwMode="auto">
              <a:xfrm>
                <a:off x="3811" y="2727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4" name="Rectangle 362"/>
              <p:cNvSpPr>
                <a:spLocks noChangeArrowheads="1"/>
              </p:cNvSpPr>
              <p:nvPr/>
            </p:nvSpPr>
            <p:spPr bwMode="auto">
              <a:xfrm>
                <a:off x="3915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5" name="Rectangle 363"/>
              <p:cNvSpPr>
                <a:spLocks noChangeArrowheads="1"/>
              </p:cNvSpPr>
              <p:nvPr/>
            </p:nvSpPr>
            <p:spPr bwMode="auto">
              <a:xfrm>
                <a:off x="4469" y="2727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7.19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6" name="Rectangle 364"/>
              <p:cNvSpPr>
                <a:spLocks noChangeArrowheads="1"/>
              </p:cNvSpPr>
              <p:nvPr/>
            </p:nvSpPr>
            <p:spPr bwMode="auto">
              <a:xfrm>
                <a:off x="4308" y="2727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7" name="Rectangle 365"/>
              <p:cNvSpPr>
                <a:spLocks noChangeArrowheads="1"/>
              </p:cNvSpPr>
              <p:nvPr/>
            </p:nvSpPr>
            <p:spPr bwMode="auto">
              <a:xfrm>
                <a:off x="4461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8" name="Rectangle 366"/>
              <p:cNvSpPr>
                <a:spLocks noChangeArrowheads="1"/>
              </p:cNvSpPr>
              <p:nvPr/>
            </p:nvSpPr>
            <p:spPr bwMode="auto">
              <a:xfrm>
                <a:off x="5135" y="2727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65.4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9" name="Rectangle 367"/>
              <p:cNvSpPr>
                <a:spLocks noChangeArrowheads="1"/>
              </p:cNvSpPr>
              <p:nvPr/>
            </p:nvSpPr>
            <p:spPr bwMode="auto">
              <a:xfrm>
                <a:off x="4814" y="2727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0" name="Rectangle 368"/>
              <p:cNvSpPr>
                <a:spLocks noChangeArrowheads="1"/>
              </p:cNvSpPr>
              <p:nvPr/>
            </p:nvSpPr>
            <p:spPr bwMode="auto">
              <a:xfrm>
                <a:off x="5111" y="2727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1" name="Rectangle 369"/>
              <p:cNvSpPr>
                <a:spLocks noChangeArrowheads="1"/>
              </p:cNvSpPr>
              <p:nvPr/>
            </p:nvSpPr>
            <p:spPr bwMode="auto">
              <a:xfrm>
                <a:off x="657" y="2839"/>
                <a:ext cx="1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0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2" name="Rectangle 370"/>
              <p:cNvSpPr>
                <a:spLocks noChangeArrowheads="1"/>
              </p:cNvSpPr>
              <p:nvPr/>
            </p:nvSpPr>
            <p:spPr bwMode="auto">
              <a:xfrm>
                <a:off x="801" y="2839"/>
                <a:ext cx="51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TRANSPORT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3" name="Rectangle 371"/>
              <p:cNvSpPr>
                <a:spLocks noChangeArrowheads="1"/>
              </p:cNvSpPr>
              <p:nvPr/>
            </p:nvSpPr>
            <p:spPr bwMode="auto">
              <a:xfrm>
                <a:off x="2414" y="2839"/>
                <a:ext cx="1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6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4" name="Rectangle 372"/>
              <p:cNvSpPr>
                <a:spLocks noChangeArrowheads="1"/>
              </p:cNvSpPr>
              <p:nvPr/>
            </p:nvSpPr>
            <p:spPr bwMode="auto">
              <a:xfrm>
                <a:off x="2117" y="2839"/>
                <a:ext cx="315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5" name="Rectangle 373"/>
              <p:cNvSpPr>
                <a:spLocks noChangeArrowheads="1"/>
              </p:cNvSpPr>
              <p:nvPr/>
            </p:nvSpPr>
            <p:spPr bwMode="auto">
              <a:xfrm>
                <a:off x="2398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6" name="Rectangle 374"/>
              <p:cNvSpPr>
                <a:spLocks noChangeArrowheads="1"/>
              </p:cNvSpPr>
              <p:nvPr/>
            </p:nvSpPr>
            <p:spPr bwMode="auto">
              <a:xfrm>
                <a:off x="2968" y="2839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53.98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7" name="Rectangle 375"/>
              <p:cNvSpPr>
                <a:spLocks noChangeArrowheads="1"/>
              </p:cNvSpPr>
              <p:nvPr/>
            </p:nvSpPr>
            <p:spPr bwMode="auto">
              <a:xfrm>
                <a:off x="2623" y="2839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8" name="Rectangle 376"/>
              <p:cNvSpPr>
                <a:spLocks noChangeArrowheads="1"/>
              </p:cNvSpPr>
              <p:nvPr/>
            </p:nvSpPr>
            <p:spPr bwMode="auto">
              <a:xfrm>
                <a:off x="2968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9" name="Rectangle 377"/>
              <p:cNvSpPr>
                <a:spLocks noChangeArrowheads="1"/>
              </p:cNvSpPr>
              <p:nvPr/>
            </p:nvSpPr>
            <p:spPr bwMode="auto">
              <a:xfrm>
                <a:off x="3466" y="2839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99.8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0" name="Rectangle 378"/>
              <p:cNvSpPr>
                <a:spLocks noChangeArrowheads="1"/>
              </p:cNvSpPr>
              <p:nvPr/>
            </p:nvSpPr>
            <p:spPr bwMode="auto">
              <a:xfrm>
                <a:off x="3305" y="2839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1" name="Rectangle 379"/>
              <p:cNvSpPr>
                <a:spLocks noChangeArrowheads="1"/>
              </p:cNvSpPr>
              <p:nvPr/>
            </p:nvSpPr>
            <p:spPr bwMode="auto">
              <a:xfrm>
                <a:off x="3458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2" name="Rectangle 380"/>
              <p:cNvSpPr>
                <a:spLocks noChangeArrowheads="1"/>
              </p:cNvSpPr>
              <p:nvPr/>
            </p:nvSpPr>
            <p:spPr bwMode="auto">
              <a:xfrm>
                <a:off x="3971" y="2839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9.9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3" name="Rectangle 381"/>
              <p:cNvSpPr>
                <a:spLocks noChangeArrowheads="1"/>
              </p:cNvSpPr>
              <p:nvPr/>
            </p:nvSpPr>
            <p:spPr bwMode="auto">
              <a:xfrm>
                <a:off x="3811" y="2839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4" name="Rectangle 382"/>
              <p:cNvSpPr>
                <a:spLocks noChangeArrowheads="1"/>
              </p:cNvSpPr>
              <p:nvPr/>
            </p:nvSpPr>
            <p:spPr bwMode="auto">
              <a:xfrm>
                <a:off x="3963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5" name="Rectangle 383"/>
              <p:cNvSpPr>
                <a:spLocks noChangeArrowheads="1"/>
              </p:cNvSpPr>
              <p:nvPr/>
            </p:nvSpPr>
            <p:spPr bwMode="auto">
              <a:xfrm>
                <a:off x="4469" y="2839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6.13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6" name="Rectangle 384"/>
              <p:cNvSpPr>
                <a:spLocks noChangeArrowheads="1"/>
              </p:cNvSpPr>
              <p:nvPr/>
            </p:nvSpPr>
            <p:spPr bwMode="auto">
              <a:xfrm>
                <a:off x="4308" y="2839"/>
                <a:ext cx="17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7" name="Rectangle 385"/>
              <p:cNvSpPr>
                <a:spLocks noChangeArrowheads="1"/>
              </p:cNvSpPr>
              <p:nvPr/>
            </p:nvSpPr>
            <p:spPr bwMode="auto">
              <a:xfrm>
                <a:off x="4461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8" name="Rectangle 386"/>
              <p:cNvSpPr>
                <a:spLocks noChangeArrowheads="1"/>
              </p:cNvSpPr>
              <p:nvPr/>
            </p:nvSpPr>
            <p:spPr bwMode="auto">
              <a:xfrm>
                <a:off x="5135" y="2839"/>
                <a:ext cx="296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45.92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9" name="Rectangle 387"/>
              <p:cNvSpPr>
                <a:spLocks noChangeArrowheads="1"/>
              </p:cNvSpPr>
              <p:nvPr/>
            </p:nvSpPr>
            <p:spPr bwMode="auto">
              <a:xfrm>
                <a:off x="4814" y="2839"/>
                <a:ext cx="339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0" name="Rectangle 388"/>
              <p:cNvSpPr>
                <a:spLocks noChangeArrowheads="1"/>
              </p:cNvSpPr>
              <p:nvPr/>
            </p:nvSpPr>
            <p:spPr bwMode="auto">
              <a:xfrm>
                <a:off x="5111" y="2839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1" name="Rectangle 389"/>
              <p:cNvSpPr>
                <a:spLocks noChangeArrowheads="1"/>
              </p:cNvSpPr>
              <p:nvPr/>
            </p:nvSpPr>
            <p:spPr bwMode="auto">
              <a:xfrm>
                <a:off x="657" y="2951"/>
                <a:ext cx="10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2" name="Rectangle 390"/>
              <p:cNvSpPr>
                <a:spLocks noChangeArrowheads="1"/>
              </p:cNvSpPr>
              <p:nvPr/>
            </p:nvSpPr>
            <p:spPr bwMode="auto">
              <a:xfrm>
                <a:off x="801" y="2951"/>
                <a:ext cx="305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WATER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3" name="Rectangle 391"/>
              <p:cNvSpPr>
                <a:spLocks noChangeArrowheads="1"/>
              </p:cNvSpPr>
              <p:nvPr/>
            </p:nvSpPr>
            <p:spPr bwMode="auto">
              <a:xfrm>
                <a:off x="2358" y="2951"/>
                <a:ext cx="16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59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4" name="Rectangle 392"/>
              <p:cNvSpPr>
                <a:spLocks noChangeArrowheads="1"/>
              </p:cNvSpPr>
              <p:nvPr/>
            </p:nvSpPr>
            <p:spPr bwMode="auto">
              <a:xfrm>
                <a:off x="2117" y="2951"/>
                <a:ext cx="267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5" name="Rectangle 393"/>
              <p:cNvSpPr>
                <a:spLocks noChangeArrowheads="1"/>
              </p:cNvSpPr>
              <p:nvPr/>
            </p:nvSpPr>
            <p:spPr bwMode="auto">
              <a:xfrm>
                <a:off x="2358" y="2951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6" name="Rectangle 394"/>
              <p:cNvSpPr>
                <a:spLocks noChangeArrowheads="1"/>
              </p:cNvSpPr>
              <p:nvPr/>
            </p:nvSpPr>
            <p:spPr bwMode="auto">
              <a:xfrm>
                <a:off x="2968" y="2951"/>
                <a:ext cx="240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2.0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7" name="Rectangle 395"/>
              <p:cNvSpPr>
                <a:spLocks noChangeArrowheads="1"/>
              </p:cNvSpPr>
              <p:nvPr/>
            </p:nvSpPr>
            <p:spPr bwMode="auto">
              <a:xfrm>
                <a:off x="2623" y="2951"/>
                <a:ext cx="388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      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8" name="Rectangle 396"/>
              <p:cNvSpPr>
                <a:spLocks noChangeArrowheads="1"/>
              </p:cNvSpPr>
              <p:nvPr/>
            </p:nvSpPr>
            <p:spPr bwMode="auto">
              <a:xfrm>
                <a:off x="2968" y="2951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9" name="Rectangle 397"/>
              <p:cNvSpPr>
                <a:spLocks noChangeArrowheads="1"/>
              </p:cNvSpPr>
              <p:nvPr/>
            </p:nvSpPr>
            <p:spPr bwMode="auto">
              <a:xfrm>
                <a:off x="3417" y="2951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50.1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0" name="Rectangle 398"/>
              <p:cNvSpPr>
                <a:spLocks noChangeArrowheads="1"/>
              </p:cNvSpPr>
              <p:nvPr/>
            </p:nvSpPr>
            <p:spPr bwMode="auto">
              <a:xfrm>
                <a:off x="3305" y="2951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1" name="Rectangle 399"/>
              <p:cNvSpPr>
                <a:spLocks noChangeArrowheads="1"/>
              </p:cNvSpPr>
              <p:nvPr/>
            </p:nvSpPr>
            <p:spPr bwMode="auto">
              <a:xfrm>
                <a:off x="3417" y="2951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2" name="Rectangle 400"/>
              <p:cNvSpPr>
                <a:spLocks noChangeArrowheads="1"/>
              </p:cNvSpPr>
              <p:nvPr/>
            </p:nvSpPr>
            <p:spPr bwMode="auto">
              <a:xfrm>
                <a:off x="3915" y="2951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49.87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3" name="Rectangle 401"/>
              <p:cNvSpPr>
                <a:spLocks noChangeArrowheads="1"/>
              </p:cNvSpPr>
              <p:nvPr/>
            </p:nvSpPr>
            <p:spPr bwMode="auto">
              <a:xfrm>
                <a:off x="3811" y="2951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4" name="Rectangle 402"/>
              <p:cNvSpPr>
                <a:spLocks noChangeArrowheads="1"/>
              </p:cNvSpPr>
              <p:nvPr/>
            </p:nvSpPr>
            <p:spPr bwMode="auto">
              <a:xfrm>
                <a:off x="3915" y="2951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5" name="Rectangle 403"/>
              <p:cNvSpPr>
                <a:spLocks noChangeArrowheads="1"/>
              </p:cNvSpPr>
              <p:nvPr/>
            </p:nvSpPr>
            <p:spPr bwMode="auto">
              <a:xfrm>
                <a:off x="4421" y="2951"/>
                <a:ext cx="29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630.01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6" name="Rectangle 404"/>
              <p:cNvSpPr>
                <a:spLocks noChangeArrowheads="1"/>
              </p:cNvSpPr>
              <p:nvPr/>
            </p:nvSpPr>
            <p:spPr bwMode="auto">
              <a:xfrm>
                <a:off x="4308" y="2951"/>
                <a:ext cx="121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   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7" name="Rectangle 405"/>
              <p:cNvSpPr>
                <a:spLocks noChangeArrowheads="1"/>
              </p:cNvSpPr>
              <p:nvPr/>
            </p:nvSpPr>
            <p:spPr bwMode="auto">
              <a:xfrm>
                <a:off x="4421" y="2951"/>
                <a:ext cx="24" cy="1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0" i="0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8" name="Rectangle 406"/>
              <p:cNvSpPr>
                <a:spLocks noChangeArrowheads="1"/>
              </p:cNvSpPr>
              <p:nvPr/>
            </p:nvSpPr>
            <p:spPr bwMode="auto">
              <a:xfrm>
                <a:off x="5055" y="2951"/>
                <a:ext cx="385" cy="1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300" b="1" i="1" u="none" strike="noStrike" cap="none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,030.05</a:t>
                </a: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480" name="Rectangle 408"/>
            <p:cNvSpPr>
              <a:spLocks noChangeArrowheads="1"/>
            </p:cNvSpPr>
            <p:nvPr/>
          </p:nvSpPr>
          <p:spPr bwMode="auto">
            <a:xfrm>
              <a:off x="4814" y="2951"/>
              <a:ext cx="242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1" name="Rectangle 409"/>
            <p:cNvSpPr>
              <a:spLocks noChangeArrowheads="1"/>
            </p:cNvSpPr>
            <p:nvPr/>
          </p:nvSpPr>
          <p:spPr bwMode="auto">
            <a:xfrm>
              <a:off x="5031" y="2951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2" name="Rectangle 410"/>
            <p:cNvSpPr>
              <a:spLocks noChangeArrowheads="1"/>
            </p:cNvSpPr>
            <p:nvPr/>
          </p:nvSpPr>
          <p:spPr bwMode="auto">
            <a:xfrm>
              <a:off x="657" y="3063"/>
              <a:ext cx="10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2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3" name="Rectangle 411"/>
            <p:cNvSpPr>
              <a:spLocks noChangeArrowheads="1"/>
            </p:cNvSpPr>
            <p:nvPr/>
          </p:nvSpPr>
          <p:spPr bwMode="auto">
            <a:xfrm>
              <a:off x="801" y="3063"/>
              <a:ext cx="321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WORKS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4" name="Rectangle 412"/>
            <p:cNvSpPr>
              <a:spLocks noChangeArrowheads="1"/>
            </p:cNvSpPr>
            <p:nvPr/>
          </p:nvSpPr>
          <p:spPr bwMode="auto">
            <a:xfrm>
              <a:off x="2358" y="3063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400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5" name="Rectangle 413"/>
            <p:cNvSpPr>
              <a:spLocks noChangeArrowheads="1"/>
            </p:cNvSpPr>
            <p:nvPr/>
          </p:nvSpPr>
          <p:spPr bwMode="auto">
            <a:xfrm>
              <a:off x="2117" y="3063"/>
              <a:ext cx="26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6" name="Rectangle 414"/>
            <p:cNvSpPr>
              <a:spLocks noChangeArrowheads="1"/>
            </p:cNvSpPr>
            <p:nvPr/>
          </p:nvSpPr>
          <p:spPr bwMode="auto">
            <a:xfrm>
              <a:off x="2358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7" name="Rectangle 415"/>
            <p:cNvSpPr>
              <a:spLocks noChangeArrowheads="1"/>
            </p:cNvSpPr>
            <p:nvPr/>
          </p:nvSpPr>
          <p:spPr bwMode="auto">
            <a:xfrm>
              <a:off x="2912" y="306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55.39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8" name="Rectangle 416"/>
            <p:cNvSpPr>
              <a:spLocks noChangeArrowheads="1"/>
            </p:cNvSpPr>
            <p:nvPr/>
          </p:nvSpPr>
          <p:spPr bwMode="auto">
            <a:xfrm>
              <a:off x="2623" y="3063"/>
              <a:ext cx="315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89" name="Rectangle 417"/>
            <p:cNvSpPr>
              <a:spLocks noChangeArrowheads="1"/>
            </p:cNvSpPr>
            <p:nvPr/>
          </p:nvSpPr>
          <p:spPr bwMode="auto">
            <a:xfrm>
              <a:off x="2904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0" name="Rectangle 418"/>
            <p:cNvSpPr>
              <a:spLocks noChangeArrowheads="1"/>
            </p:cNvSpPr>
            <p:nvPr/>
          </p:nvSpPr>
          <p:spPr bwMode="auto">
            <a:xfrm>
              <a:off x="3417" y="306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97.68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1" name="Rectangle 419"/>
            <p:cNvSpPr>
              <a:spLocks noChangeArrowheads="1"/>
            </p:cNvSpPr>
            <p:nvPr/>
          </p:nvSpPr>
          <p:spPr bwMode="auto">
            <a:xfrm>
              <a:off x="3305" y="3063"/>
              <a:ext cx="12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2" name="Rectangle 420"/>
            <p:cNvSpPr>
              <a:spLocks noChangeArrowheads="1"/>
            </p:cNvSpPr>
            <p:nvPr/>
          </p:nvSpPr>
          <p:spPr bwMode="auto">
            <a:xfrm>
              <a:off x="3417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3" name="Rectangle 421"/>
            <p:cNvSpPr>
              <a:spLocks noChangeArrowheads="1"/>
            </p:cNvSpPr>
            <p:nvPr/>
          </p:nvSpPr>
          <p:spPr bwMode="auto">
            <a:xfrm>
              <a:off x="3915" y="306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81.7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4" name="Rectangle 422"/>
            <p:cNvSpPr>
              <a:spLocks noChangeArrowheads="1"/>
            </p:cNvSpPr>
            <p:nvPr/>
          </p:nvSpPr>
          <p:spPr bwMode="auto">
            <a:xfrm>
              <a:off x="3811" y="3063"/>
              <a:ext cx="12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5" name="Rectangle 423"/>
            <p:cNvSpPr>
              <a:spLocks noChangeArrowheads="1"/>
            </p:cNvSpPr>
            <p:nvPr/>
          </p:nvSpPr>
          <p:spPr bwMode="auto">
            <a:xfrm>
              <a:off x="3915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6" name="Rectangle 424"/>
            <p:cNvSpPr>
              <a:spLocks noChangeArrowheads="1"/>
            </p:cNvSpPr>
            <p:nvPr/>
          </p:nvSpPr>
          <p:spPr bwMode="auto">
            <a:xfrm>
              <a:off x="4421" y="306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28.32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7" name="Rectangle 425"/>
            <p:cNvSpPr>
              <a:spLocks noChangeArrowheads="1"/>
            </p:cNvSpPr>
            <p:nvPr/>
          </p:nvSpPr>
          <p:spPr bwMode="auto">
            <a:xfrm>
              <a:off x="4308" y="3063"/>
              <a:ext cx="12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8" name="Rectangle 426"/>
            <p:cNvSpPr>
              <a:spLocks noChangeArrowheads="1"/>
            </p:cNvSpPr>
            <p:nvPr/>
          </p:nvSpPr>
          <p:spPr bwMode="auto">
            <a:xfrm>
              <a:off x="4421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99" name="Rectangle 427"/>
            <p:cNvSpPr>
              <a:spLocks noChangeArrowheads="1"/>
            </p:cNvSpPr>
            <p:nvPr/>
          </p:nvSpPr>
          <p:spPr bwMode="auto">
            <a:xfrm>
              <a:off x="5135" y="3063"/>
              <a:ext cx="296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707.7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0" name="Rectangle 428"/>
            <p:cNvSpPr>
              <a:spLocks noChangeArrowheads="1"/>
            </p:cNvSpPr>
            <p:nvPr/>
          </p:nvSpPr>
          <p:spPr bwMode="auto">
            <a:xfrm>
              <a:off x="4814" y="3063"/>
              <a:ext cx="339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1" name="Rectangle 429"/>
            <p:cNvSpPr>
              <a:spLocks noChangeArrowheads="1"/>
            </p:cNvSpPr>
            <p:nvPr/>
          </p:nvSpPr>
          <p:spPr bwMode="auto">
            <a:xfrm>
              <a:off x="5111" y="306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2" name="Rectangle 430"/>
            <p:cNvSpPr>
              <a:spLocks noChangeArrowheads="1"/>
            </p:cNvSpPr>
            <p:nvPr/>
          </p:nvSpPr>
          <p:spPr bwMode="auto">
            <a:xfrm>
              <a:off x="657" y="3183"/>
              <a:ext cx="10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3" name="Rectangle 431"/>
            <p:cNvSpPr>
              <a:spLocks noChangeArrowheads="1"/>
            </p:cNvSpPr>
            <p:nvPr/>
          </p:nvSpPr>
          <p:spPr bwMode="auto">
            <a:xfrm>
              <a:off x="801" y="3183"/>
              <a:ext cx="596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AGRICULTURE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4" name="Rectangle 432"/>
            <p:cNvSpPr>
              <a:spLocks noChangeArrowheads="1"/>
            </p:cNvSpPr>
            <p:nvPr/>
          </p:nvSpPr>
          <p:spPr bwMode="auto">
            <a:xfrm>
              <a:off x="2358" y="3183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70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5" name="Rectangle 433"/>
            <p:cNvSpPr>
              <a:spLocks noChangeArrowheads="1"/>
            </p:cNvSpPr>
            <p:nvPr/>
          </p:nvSpPr>
          <p:spPr bwMode="auto">
            <a:xfrm>
              <a:off x="2117" y="3183"/>
              <a:ext cx="26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6" name="Rectangle 434"/>
            <p:cNvSpPr>
              <a:spLocks noChangeArrowheads="1"/>
            </p:cNvSpPr>
            <p:nvPr/>
          </p:nvSpPr>
          <p:spPr bwMode="auto">
            <a:xfrm>
              <a:off x="2358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7" name="Rectangle 435"/>
            <p:cNvSpPr>
              <a:spLocks noChangeArrowheads="1"/>
            </p:cNvSpPr>
            <p:nvPr/>
          </p:nvSpPr>
          <p:spPr bwMode="auto">
            <a:xfrm>
              <a:off x="2968" y="3183"/>
              <a:ext cx="24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31.40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8" name="Rectangle 436"/>
            <p:cNvSpPr>
              <a:spLocks noChangeArrowheads="1"/>
            </p:cNvSpPr>
            <p:nvPr/>
          </p:nvSpPr>
          <p:spPr bwMode="auto">
            <a:xfrm>
              <a:off x="2623" y="3183"/>
              <a:ext cx="38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09" name="Rectangle 437"/>
            <p:cNvSpPr>
              <a:spLocks noChangeArrowheads="1"/>
            </p:cNvSpPr>
            <p:nvPr/>
          </p:nvSpPr>
          <p:spPr bwMode="auto">
            <a:xfrm>
              <a:off x="2968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0" name="Rectangle 438"/>
            <p:cNvSpPr>
              <a:spLocks noChangeArrowheads="1"/>
            </p:cNvSpPr>
            <p:nvPr/>
          </p:nvSpPr>
          <p:spPr bwMode="auto">
            <a:xfrm>
              <a:off x="3466" y="3183"/>
              <a:ext cx="24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31.54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1" name="Rectangle 439"/>
            <p:cNvSpPr>
              <a:spLocks noChangeArrowheads="1"/>
            </p:cNvSpPr>
            <p:nvPr/>
          </p:nvSpPr>
          <p:spPr bwMode="auto">
            <a:xfrm>
              <a:off x="3305" y="3183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2" name="Rectangle 440"/>
            <p:cNvSpPr>
              <a:spLocks noChangeArrowheads="1"/>
            </p:cNvSpPr>
            <p:nvPr/>
          </p:nvSpPr>
          <p:spPr bwMode="auto">
            <a:xfrm>
              <a:off x="3458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3" name="Rectangle 441"/>
            <p:cNvSpPr>
              <a:spLocks noChangeArrowheads="1"/>
            </p:cNvSpPr>
            <p:nvPr/>
          </p:nvSpPr>
          <p:spPr bwMode="auto">
            <a:xfrm>
              <a:off x="3915" y="318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00.69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4" name="Rectangle 442"/>
            <p:cNvSpPr>
              <a:spLocks noChangeArrowheads="1"/>
            </p:cNvSpPr>
            <p:nvPr/>
          </p:nvSpPr>
          <p:spPr bwMode="auto">
            <a:xfrm>
              <a:off x="3811" y="3183"/>
              <a:ext cx="12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5" name="Rectangle 443"/>
            <p:cNvSpPr>
              <a:spLocks noChangeArrowheads="1"/>
            </p:cNvSpPr>
            <p:nvPr/>
          </p:nvSpPr>
          <p:spPr bwMode="auto">
            <a:xfrm>
              <a:off x="3915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6" name="Rectangle 444"/>
            <p:cNvSpPr>
              <a:spLocks noChangeArrowheads="1"/>
            </p:cNvSpPr>
            <p:nvPr/>
          </p:nvSpPr>
          <p:spPr bwMode="auto">
            <a:xfrm>
              <a:off x="4421" y="3183"/>
              <a:ext cx="29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03.79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7" name="Rectangle 445"/>
            <p:cNvSpPr>
              <a:spLocks noChangeArrowheads="1"/>
            </p:cNvSpPr>
            <p:nvPr/>
          </p:nvSpPr>
          <p:spPr bwMode="auto">
            <a:xfrm>
              <a:off x="4308" y="3183"/>
              <a:ext cx="12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8" name="Rectangle 446"/>
            <p:cNvSpPr>
              <a:spLocks noChangeArrowheads="1"/>
            </p:cNvSpPr>
            <p:nvPr/>
          </p:nvSpPr>
          <p:spPr bwMode="auto">
            <a:xfrm>
              <a:off x="4421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19" name="Rectangle 447"/>
            <p:cNvSpPr>
              <a:spLocks noChangeArrowheads="1"/>
            </p:cNvSpPr>
            <p:nvPr/>
          </p:nvSpPr>
          <p:spPr bwMode="auto">
            <a:xfrm>
              <a:off x="5135" y="3183"/>
              <a:ext cx="296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36.0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0" name="Rectangle 448"/>
            <p:cNvSpPr>
              <a:spLocks noChangeArrowheads="1"/>
            </p:cNvSpPr>
            <p:nvPr/>
          </p:nvSpPr>
          <p:spPr bwMode="auto">
            <a:xfrm>
              <a:off x="4814" y="3183"/>
              <a:ext cx="339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1" name="Rectangle 449"/>
            <p:cNvSpPr>
              <a:spLocks noChangeArrowheads="1"/>
            </p:cNvSpPr>
            <p:nvPr/>
          </p:nvSpPr>
          <p:spPr bwMode="auto">
            <a:xfrm>
              <a:off x="5111" y="318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2" name="Rectangle 450"/>
            <p:cNvSpPr>
              <a:spLocks noChangeArrowheads="1"/>
            </p:cNvSpPr>
            <p:nvPr/>
          </p:nvSpPr>
          <p:spPr bwMode="auto">
            <a:xfrm>
              <a:off x="801" y="3303"/>
              <a:ext cx="1255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Total: 13 Big Spending MDAs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3" name="Rectangle 451"/>
            <p:cNvSpPr>
              <a:spLocks noChangeArrowheads="1"/>
            </p:cNvSpPr>
            <p:nvPr/>
          </p:nvSpPr>
          <p:spPr bwMode="auto">
            <a:xfrm>
              <a:off x="2278" y="3303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4,96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4" name="Rectangle 452"/>
            <p:cNvSpPr>
              <a:spLocks noChangeArrowheads="1"/>
            </p:cNvSpPr>
            <p:nvPr/>
          </p:nvSpPr>
          <p:spPr bwMode="auto">
            <a:xfrm>
              <a:off x="2117" y="3303"/>
              <a:ext cx="144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5" name="Rectangle 453"/>
            <p:cNvSpPr>
              <a:spLocks noChangeArrowheads="1"/>
            </p:cNvSpPr>
            <p:nvPr/>
          </p:nvSpPr>
          <p:spPr bwMode="auto">
            <a:xfrm>
              <a:off x="2246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6" name="Rectangle 454"/>
            <p:cNvSpPr>
              <a:spLocks noChangeArrowheads="1"/>
            </p:cNvSpPr>
            <p:nvPr/>
          </p:nvSpPr>
          <p:spPr bwMode="auto">
            <a:xfrm>
              <a:off x="3048" y="3303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678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7" name="Rectangle 455"/>
            <p:cNvSpPr>
              <a:spLocks noChangeArrowheads="1"/>
            </p:cNvSpPr>
            <p:nvPr/>
          </p:nvSpPr>
          <p:spPr bwMode="auto">
            <a:xfrm>
              <a:off x="2623" y="3303"/>
              <a:ext cx="46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8" name="Rectangle 456"/>
            <p:cNvSpPr>
              <a:spLocks noChangeArrowheads="1"/>
            </p:cNvSpPr>
            <p:nvPr/>
          </p:nvSpPr>
          <p:spPr bwMode="auto">
            <a:xfrm>
              <a:off x="3032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29" name="Rectangle 457"/>
            <p:cNvSpPr>
              <a:spLocks noChangeArrowheads="1"/>
            </p:cNvSpPr>
            <p:nvPr/>
          </p:nvSpPr>
          <p:spPr bwMode="auto">
            <a:xfrm>
              <a:off x="3466" y="3303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,51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0" name="Rectangle 458"/>
            <p:cNvSpPr>
              <a:spLocks noChangeArrowheads="1"/>
            </p:cNvSpPr>
            <p:nvPr/>
          </p:nvSpPr>
          <p:spPr bwMode="auto">
            <a:xfrm>
              <a:off x="3305" y="3303"/>
              <a:ext cx="144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1" name="Rectangle 459"/>
            <p:cNvSpPr>
              <a:spLocks noChangeArrowheads="1"/>
            </p:cNvSpPr>
            <p:nvPr/>
          </p:nvSpPr>
          <p:spPr bwMode="auto">
            <a:xfrm>
              <a:off x="3434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2" name="Rectangle 460"/>
            <p:cNvSpPr>
              <a:spLocks noChangeArrowheads="1"/>
            </p:cNvSpPr>
            <p:nvPr/>
          </p:nvSpPr>
          <p:spPr bwMode="auto">
            <a:xfrm>
              <a:off x="3971" y="3303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,00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3" name="Rectangle 461"/>
            <p:cNvSpPr>
              <a:spLocks noChangeArrowheads="1"/>
            </p:cNvSpPr>
            <p:nvPr/>
          </p:nvSpPr>
          <p:spPr bwMode="auto">
            <a:xfrm>
              <a:off x="3811" y="3303"/>
              <a:ext cx="144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4" name="Rectangle 462"/>
            <p:cNvSpPr>
              <a:spLocks noChangeArrowheads="1"/>
            </p:cNvSpPr>
            <p:nvPr/>
          </p:nvSpPr>
          <p:spPr bwMode="auto">
            <a:xfrm>
              <a:off x="3939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5" name="Rectangle 463"/>
            <p:cNvSpPr>
              <a:spLocks noChangeArrowheads="1"/>
            </p:cNvSpPr>
            <p:nvPr/>
          </p:nvSpPr>
          <p:spPr bwMode="auto">
            <a:xfrm>
              <a:off x="4469" y="3303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,83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6" name="Rectangle 464"/>
            <p:cNvSpPr>
              <a:spLocks noChangeArrowheads="1"/>
            </p:cNvSpPr>
            <p:nvPr/>
          </p:nvSpPr>
          <p:spPr bwMode="auto">
            <a:xfrm>
              <a:off x="4308" y="3303"/>
              <a:ext cx="144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7" name="Rectangle 465"/>
            <p:cNvSpPr>
              <a:spLocks noChangeArrowheads="1"/>
            </p:cNvSpPr>
            <p:nvPr/>
          </p:nvSpPr>
          <p:spPr bwMode="auto">
            <a:xfrm>
              <a:off x="4437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8" name="Rectangle 466"/>
            <p:cNvSpPr>
              <a:spLocks noChangeArrowheads="1"/>
            </p:cNvSpPr>
            <p:nvPr/>
          </p:nvSpPr>
          <p:spPr bwMode="auto">
            <a:xfrm>
              <a:off x="5191" y="3303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6,356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39" name="Rectangle 467"/>
            <p:cNvSpPr>
              <a:spLocks noChangeArrowheads="1"/>
            </p:cNvSpPr>
            <p:nvPr/>
          </p:nvSpPr>
          <p:spPr bwMode="auto">
            <a:xfrm>
              <a:off x="4814" y="3303"/>
              <a:ext cx="38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0" name="Rectangle 468"/>
            <p:cNvSpPr>
              <a:spLocks noChangeArrowheads="1"/>
            </p:cNvSpPr>
            <p:nvPr/>
          </p:nvSpPr>
          <p:spPr bwMode="auto">
            <a:xfrm>
              <a:off x="5159" y="3303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1" name="Rectangle 469"/>
            <p:cNvSpPr>
              <a:spLocks noChangeArrowheads="1"/>
            </p:cNvSpPr>
            <p:nvPr/>
          </p:nvSpPr>
          <p:spPr bwMode="auto">
            <a:xfrm>
              <a:off x="801" y="3447"/>
              <a:ext cx="6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7 Other MDAs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2" name="Rectangle 470"/>
            <p:cNvSpPr>
              <a:spLocks noChangeArrowheads="1"/>
            </p:cNvSpPr>
            <p:nvPr/>
          </p:nvSpPr>
          <p:spPr bwMode="auto">
            <a:xfrm>
              <a:off x="2278" y="344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,331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3" name="Rectangle 471"/>
            <p:cNvSpPr>
              <a:spLocks noChangeArrowheads="1"/>
            </p:cNvSpPr>
            <p:nvPr/>
          </p:nvSpPr>
          <p:spPr bwMode="auto">
            <a:xfrm>
              <a:off x="2117" y="3447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4" name="Rectangle 472"/>
            <p:cNvSpPr>
              <a:spLocks noChangeArrowheads="1"/>
            </p:cNvSpPr>
            <p:nvPr/>
          </p:nvSpPr>
          <p:spPr bwMode="auto">
            <a:xfrm>
              <a:off x="2270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5" name="Rectangle 473"/>
            <p:cNvSpPr>
              <a:spLocks noChangeArrowheads="1"/>
            </p:cNvSpPr>
            <p:nvPr/>
          </p:nvSpPr>
          <p:spPr bwMode="auto">
            <a:xfrm>
              <a:off x="3048" y="3447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49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6" name="Rectangle 474"/>
            <p:cNvSpPr>
              <a:spLocks noChangeArrowheads="1"/>
            </p:cNvSpPr>
            <p:nvPr/>
          </p:nvSpPr>
          <p:spPr bwMode="auto">
            <a:xfrm>
              <a:off x="2623" y="3447"/>
              <a:ext cx="46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7" name="Rectangle 475"/>
            <p:cNvSpPr>
              <a:spLocks noChangeArrowheads="1"/>
            </p:cNvSpPr>
            <p:nvPr/>
          </p:nvSpPr>
          <p:spPr bwMode="auto">
            <a:xfrm>
              <a:off x="3032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8" name="Rectangle 476"/>
            <p:cNvSpPr>
              <a:spLocks noChangeArrowheads="1"/>
            </p:cNvSpPr>
            <p:nvPr/>
          </p:nvSpPr>
          <p:spPr bwMode="auto">
            <a:xfrm>
              <a:off x="3546" y="3447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74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49" name="Rectangle 477"/>
            <p:cNvSpPr>
              <a:spLocks noChangeArrowheads="1"/>
            </p:cNvSpPr>
            <p:nvPr/>
          </p:nvSpPr>
          <p:spPr bwMode="auto">
            <a:xfrm>
              <a:off x="3305" y="3447"/>
              <a:ext cx="26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0" name="Rectangle 478"/>
            <p:cNvSpPr>
              <a:spLocks noChangeArrowheads="1"/>
            </p:cNvSpPr>
            <p:nvPr/>
          </p:nvSpPr>
          <p:spPr bwMode="auto">
            <a:xfrm>
              <a:off x="3546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1" name="Rectangle 479"/>
            <p:cNvSpPr>
              <a:spLocks noChangeArrowheads="1"/>
            </p:cNvSpPr>
            <p:nvPr/>
          </p:nvSpPr>
          <p:spPr bwMode="auto">
            <a:xfrm>
              <a:off x="4051" y="3447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37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2" name="Rectangle 480"/>
            <p:cNvSpPr>
              <a:spLocks noChangeArrowheads="1"/>
            </p:cNvSpPr>
            <p:nvPr/>
          </p:nvSpPr>
          <p:spPr bwMode="auto">
            <a:xfrm>
              <a:off x="3811" y="3447"/>
              <a:ext cx="26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3" name="Rectangle 481"/>
            <p:cNvSpPr>
              <a:spLocks noChangeArrowheads="1"/>
            </p:cNvSpPr>
            <p:nvPr/>
          </p:nvSpPr>
          <p:spPr bwMode="auto">
            <a:xfrm>
              <a:off x="4043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4" name="Rectangle 482"/>
            <p:cNvSpPr>
              <a:spLocks noChangeArrowheads="1"/>
            </p:cNvSpPr>
            <p:nvPr/>
          </p:nvSpPr>
          <p:spPr bwMode="auto">
            <a:xfrm>
              <a:off x="4605" y="3447"/>
              <a:ext cx="10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93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5" name="Rectangle 483"/>
            <p:cNvSpPr>
              <a:spLocks noChangeArrowheads="1"/>
            </p:cNvSpPr>
            <p:nvPr/>
          </p:nvSpPr>
          <p:spPr bwMode="auto">
            <a:xfrm>
              <a:off x="4308" y="3447"/>
              <a:ext cx="315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6" name="Rectangle 484"/>
            <p:cNvSpPr>
              <a:spLocks noChangeArrowheads="1"/>
            </p:cNvSpPr>
            <p:nvPr/>
          </p:nvSpPr>
          <p:spPr bwMode="auto">
            <a:xfrm>
              <a:off x="4589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7" name="Rectangle 485"/>
            <p:cNvSpPr>
              <a:spLocks noChangeArrowheads="1"/>
            </p:cNvSpPr>
            <p:nvPr/>
          </p:nvSpPr>
          <p:spPr bwMode="auto">
            <a:xfrm>
              <a:off x="5271" y="3447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641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8" name="Rectangle 486"/>
            <p:cNvSpPr>
              <a:spLocks noChangeArrowheads="1"/>
            </p:cNvSpPr>
            <p:nvPr/>
          </p:nvSpPr>
          <p:spPr bwMode="auto">
            <a:xfrm>
              <a:off x="4814" y="3447"/>
              <a:ext cx="485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59" name="Rectangle 487"/>
            <p:cNvSpPr>
              <a:spLocks noChangeArrowheads="1"/>
            </p:cNvSpPr>
            <p:nvPr/>
          </p:nvSpPr>
          <p:spPr bwMode="auto">
            <a:xfrm>
              <a:off x="5239" y="344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0" name="Rectangle 488"/>
            <p:cNvSpPr>
              <a:spLocks noChangeArrowheads="1"/>
            </p:cNvSpPr>
            <p:nvPr/>
          </p:nvSpPr>
          <p:spPr bwMode="auto">
            <a:xfrm>
              <a:off x="801" y="3607"/>
              <a:ext cx="212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Total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1" name="Rectangle 489"/>
            <p:cNvSpPr>
              <a:spLocks noChangeArrowheads="1"/>
            </p:cNvSpPr>
            <p:nvPr/>
          </p:nvSpPr>
          <p:spPr bwMode="auto">
            <a:xfrm>
              <a:off x="2278" y="360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6,294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2" name="Rectangle 490"/>
            <p:cNvSpPr>
              <a:spLocks noChangeArrowheads="1"/>
            </p:cNvSpPr>
            <p:nvPr/>
          </p:nvSpPr>
          <p:spPr bwMode="auto">
            <a:xfrm>
              <a:off x="2117" y="3607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3" name="Rectangle 491"/>
            <p:cNvSpPr>
              <a:spLocks noChangeArrowheads="1"/>
            </p:cNvSpPr>
            <p:nvPr/>
          </p:nvSpPr>
          <p:spPr bwMode="auto">
            <a:xfrm>
              <a:off x="2270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4" name="Rectangle 492"/>
            <p:cNvSpPr>
              <a:spLocks noChangeArrowheads="1"/>
            </p:cNvSpPr>
            <p:nvPr/>
          </p:nvSpPr>
          <p:spPr bwMode="auto">
            <a:xfrm>
              <a:off x="3048" y="3607"/>
              <a:ext cx="1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92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5" name="Rectangle 493"/>
            <p:cNvSpPr>
              <a:spLocks noChangeArrowheads="1"/>
            </p:cNvSpPr>
            <p:nvPr/>
          </p:nvSpPr>
          <p:spPr bwMode="auto">
            <a:xfrm>
              <a:off x="2623" y="3607"/>
              <a:ext cx="46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6" name="Rectangle 494"/>
            <p:cNvSpPr>
              <a:spLocks noChangeArrowheads="1"/>
            </p:cNvSpPr>
            <p:nvPr/>
          </p:nvSpPr>
          <p:spPr bwMode="auto">
            <a:xfrm>
              <a:off x="3032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7" name="Rectangle 495"/>
            <p:cNvSpPr>
              <a:spLocks noChangeArrowheads="1"/>
            </p:cNvSpPr>
            <p:nvPr/>
          </p:nvSpPr>
          <p:spPr bwMode="auto">
            <a:xfrm>
              <a:off x="3466" y="360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,68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8" name="Rectangle 496"/>
            <p:cNvSpPr>
              <a:spLocks noChangeArrowheads="1"/>
            </p:cNvSpPr>
            <p:nvPr/>
          </p:nvSpPr>
          <p:spPr bwMode="auto">
            <a:xfrm>
              <a:off x="3305" y="3607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69" name="Rectangle 497"/>
            <p:cNvSpPr>
              <a:spLocks noChangeArrowheads="1"/>
            </p:cNvSpPr>
            <p:nvPr/>
          </p:nvSpPr>
          <p:spPr bwMode="auto">
            <a:xfrm>
              <a:off x="3458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0" name="Rectangle 498"/>
            <p:cNvSpPr>
              <a:spLocks noChangeArrowheads="1"/>
            </p:cNvSpPr>
            <p:nvPr/>
          </p:nvSpPr>
          <p:spPr bwMode="auto">
            <a:xfrm>
              <a:off x="3971" y="360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,380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1" name="Rectangle 499"/>
            <p:cNvSpPr>
              <a:spLocks noChangeArrowheads="1"/>
            </p:cNvSpPr>
            <p:nvPr/>
          </p:nvSpPr>
          <p:spPr bwMode="auto">
            <a:xfrm>
              <a:off x="3811" y="3607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2" name="Rectangle 500"/>
            <p:cNvSpPr>
              <a:spLocks noChangeArrowheads="1"/>
            </p:cNvSpPr>
            <p:nvPr/>
          </p:nvSpPr>
          <p:spPr bwMode="auto">
            <a:xfrm>
              <a:off x="3963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3" name="Rectangle 501"/>
            <p:cNvSpPr>
              <a:spLocks noChangeArrowheads="1"/>
            </p:cNvSpPr>
            <p:nvPr/>
          </p:nvSpPr>
          <p:spPr bwMode="auto">
            <a:xfrm>
              <a:off x="4469" y="360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1,930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4" name="Rectangle 502"/>
            <p:cNvSpPr>
              <a:spLocks noChangeArrowheads="1"/>
            </p:cNvSpPr>
            <p:nvPr/>
          </p:nvSpPr>
          <p:spPr bwMode="auto">
            <a:xfrm>
              <a:off x="4308" y="3607"/>
              <a:ext cx="17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5" name="Rectangle 503"/>
            <p:cNvSpPr>
              <a:spLocks noChangeArrowheads="1"/>
            </p:cNvSpPr>
            <p:nvPr/>
          </p:nvSpPr>
          <p:spPr bwMode="auto">
            <a:xfrm>
              <a:off x="4461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6" name="Rectangle 504"/>
            <p:cNvSpPr>
              <a:spLocks noChangeArrowheads="1"/>
            </p:cNvSpPr>
            <p:nvPr/>
          </p:nvSpPr>
          <p:spPr bwMode="auto">
            <a:xfrm>
              <a:off x="5191" y="3607"/>
              <a:ext cx="24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6,997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7" name="Rectangle 505"/>
            <p:cNvSpPr>
              <a:spLocks noChangeArrowheads="1"/>
            </p:cNvSpPr>
            <p:nvPr/>
          </p:nvSpPr>
          <p:spPr bwMode="auto">
            <a:xfrm>
              <a:off x="4814" y="3607"/>
              <a:ext cx="412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8" name="Rectangle 506"/>
            <p:cNvSpPr>
              <a:spLocks noChangeArrowheads="1"/>
            </p:cNvSpPr>
            <p:nvPr/>
          </p:nvSpPr>
          <p:spPr bwMode="auto">
            <a:xfrm>
              <a:off x="5175" y="3607"/>
              <a:ext cx="2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79" name="Rectangle 507"/>
            <p:cNvSpPr>
              <a:spLocks noChangeArrowheads="1"/>
            </p:cNvSpPr>
            <p:nvPr/>
          </p:nvSpPr>
          <p:spPr bwMode="auto">
            <a:xfrm>
              <a:off x="488" y="3767"/>
              <a:ext cx="172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Garamond" pitchFamily="18" charset="0"/>
                  <a:cs typeface="Arial" pitchFamily="34" charset="0"/>
                </a:rPr>
                <a:t>† Projects include critical new projects.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0" name="Rectangle 508"/>
            <p:cNvSpPr>
              <a:spLocks noChangeArrowheads="1"/>
            </p:cNvSpPr>
            <p:nvPr/>
          </p:nvSpPr>
          <p:spPr bwMode="auto">
            <a:xfrm>
              <a:off x="528" y="1568"/>
              <a:ext cx="165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/N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1" name="Rectangle 509"/>
            <p:cNvSpPr>
              <a:spLocks noChangeArrowheads="1"/>
            </p:cNvSpPr>
            <p:nvPr/>
          </p:nvSpPr>
          <p:spPr bwMode="auto">
            <a:xfrm>
              <a:off x="1299" y="1568"/>
              <a:ext cx="261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MDAs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2" name="Rectangle 510"/>
            <p:cNvSpPr>
              <a:spLocks noChangeArrowheads="1"/>
            </p:cNvSpPr>
            <p:nvPr/>
          </p:nvSpPr>
          <p:spPr bwMode="auto">
            <a:xfrm>
              <a:off x="2157" y="1504"/>
              <a:ext cx="359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 NO. OF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3" name="Rectangle 511"/>
            <p:cNvSpPr>
              <a:spLocks noChangeArrowheads="1"/>
            </p:cNvSpPr>
            <p:nvPr/>
          </p:nvSpPr>
          <p:spPr bwMode="auto">
            <a:xfrm>
              <a:off x="2117" y="1616"/>
              <a:ext cx="449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PROJECTS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4" name="Rectangle 512"/>
            <p:cNvSpPr>
              <a:spLocks noChangeArrowheads="1"/>
            </p:cNvSpPr>
            <p:nvPr/>
          </p:nvSpPr>
          <p:spPr bwMode="auto">
            <a:xfrm>
              <a:off x="3321" y="1448"/>
              <a:ext cx="712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AMOUNT (N'bn)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5" name="Rectangle 513"/>
            <p:cNvSpPr>
              <a:spLocks noChangeArrowheads="1"/>
            </p:cNvSpPr>
            <p:nvPr/>
          </p:nvSpPr>
          <p:spPr bwMode="auto">
            <a:xfrm>
              <a:off x="5175" y="1504"/>
              <a:ext cx="803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TOTAL                      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6" name="Rectangle 514"/>
            <p:cNvSpPr>
              <a:spLocks noChangeArrowheads="1"/>
            </p:cNvSpPr>
            <p:nvPr/>
          </p:nvSpPr>
          <p:spPr bwMode="auto">
            <a:xfrm>
              <a:off x="4878" y="1616"/>
              <a:ext cx="57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1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(2012 - 2014)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7" name="Rectangle 515"/>
            <p:cNvSpPr>
              <a:spLocks noChangeArrowheads="1"/>
            </p:cNvSpPr>
            <p:nvPr/>
          </p:nvSpPr>
          <p:spPr bwMode="auto">
            <a:xfrm>
              <a:off x="2647" y="1616"/>
              <a:ext cx="546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2011 Budget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8" name="Rectangle 516"/>
            <p:cNvSpPr>
              <a:spLocks noChangeArrowheads="1"/>
            </p:cNvSpPr>
            <p:nvPr/>
          </p:nvSpPr>
          <p:spPr bwMode="auto">
            <a:xfrm>
              <a:off x="3795" y="1560"/>
              <a:ext cx="44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Projection</a:t>
              </a:r>
              <a:endParaRPr kumimoji="0" lang="en-US" sz="13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89" name="Rectangle 517"/>
            <p:cNvSpPr>
              <a:spLocks noChangeArrowheads="1"/>
            </p:cNvSpPr>
            <p:nvPr/>
          </p:nvSpPr>
          <p:spPr bwMode="auto">
            <a:xfrm>
              <a:off x="432" y="144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0" name="Rectangle 518"/>
            <p:cNvSpPr>
              <a:spLocks noChangeArrowheads="1"/>
            </p:cNvSpPr>
            <p:nvPr/>
          </p:nvSpPr>
          <p:spPr bwMode="auto">
            <a:xfrm>
              <a:off x="777" y="144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1" name="Rectangle 519"/>
            <p:cNvSpPr>
              <a:spLocks noChangeArrowheads="1"/>
            </p:cNvSpPr>
            <p:nvPr/>
          </p:nvSpPr>
          <p:spPr bwMode="auto">
            <a:xfrm>
              <a:off x="2069" y="1440"/>
              <a:ext cx="1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2" name="Rectangle 520"/>
            <p:cNvSpPr>
              <a:spLocks noChangeArrowheads="1"/>
            </p:cNvSpPr>
            <p:nvPr/>
          </p:nvSpPr>
          <p:spPr bwMode="auto">
            <a:xfrm>
              <a:off x="2567" y="144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3" name="Rectangle 521"/>
            <p:cNvSpPr>
              <a:spLocks noChangeArrowheads="1"/>
            </p:cNvSpPr>
            <p:nvPr/>
          </p:nvSpPr>
          <p:spPr bwMode="auto">
            <a:xfrm>
              <a:off x="4758" y="144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4" name="Line 522"/>
            <p:cNvSpPr>
              <a:spLocks noChangeShapeType="1"/>
            </p:cNvSpPr>
            <p:nvPr/>
          </p:nvSpPr>
          <p:spPr bwMode="auto">
            <a:xfrm>
              <a:off x="440" y="1440"/>
              <a:ext cx="5040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5" name="Rectangle 523"/>
            <p:cNvSpPr>
              <a:spLocks noChangeArrowheads="1"/>
            </p:cNvSpPr>
            <p:nvPr/>
          </p:nvSpPr>
          <p:spPr bwMode="auto">
            <a:xfrm>
              <a:off x="432" y="1440"/>
              <a:ext cx="5048" cy="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6" name="Rectangle 524"/>
            <p:cNvSpPr>
              <a:spLocks noChangeArrowheads="1"/>
            </p:cNvSpPr>
            <p:nvPr/>
          </p:nvSpPr>
          <p:spPr bwMode="auto">
            <a:xfrm>
              <a:off x="5480" y="1440"/>
              <a:ext cx="1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7" name="Rectangle 525"/>
            <p:cNvSpPr>
              <a:spLocks noChangeArrowheads="1"/>
            </p:cNvSpPr>
            <p:nvPr/>
          </p:nvSpPr>
          <p:spPr bwMode="auto">
            <a:xfrm>
              <a:off x="3257" y="1440"/>
              <a:ext cx="1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8" name="Line 526"/>
            <p:cNvSpPr>
              <a:spLocks noChangeShapeType="1"/>
            </p:cNvSpPr>
            <p:nvPr/>
          </p:nvSpPr>
          <p:spPr bwMode="auto">
            <a:xfrm>
              <a:off x="2567" y="1560"/>
              <a:ext cx="2199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599" name="Rectangle 527"/>
            <p:cNvSpPr>
              <a:spLocks noChangeArrowheads="1"/>
            </p:cNvSpPr>
            <p:nvPr/>
          </p:nvSpPr>
          <p:spPr bwMode="auto">
            <a:xfrm>
              <a:off x="2567" y="1560"/>
              <a:ext cx="2199" cy="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0" name="Rectangle 528"/>
            <p:cNvSpPr>
              <a:spLocks noChangeArrowheads="1"/>
            </p:cNvSpPr>
            <p:nvPr/>
          </p:nvSpPr>
          <p:spPr bwMode="auto">
            <a:xfrm>
              <a:off x="3755" y="144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1" name="Rectangle 529"/>
            <p:cNvSpPr>
              <a:spLocks noChangeArrowheads="1"/>
            </p:cNvSpPr>
            <p:nvPr/>
          </p:nvSpPr>
          <p:spPr bwMode="auto">
            <a:xfrm>
              <a:off x="4260" y="1440"/>
              <a:ext cx="1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2" name="Line 530"/>
            <p:cNvSpPr>
              <a:spLocks noChangeShapeType="1"/>
            </p:cNvSpPr>
            <p:nvPr/>
          </p:nvSpPr>
          <p:spPr bwMode="auto">
            <a:xfrm>
              <a:off x="3257" y="1672"/>
              <a:ext cx="1509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3" name="Rectangle 531"/>
            <p:cNvSpPr>
              <a:spLocks noChangeArrowheads="1"/>
            </p:cNvSpPr>
            <p:nvPr/>
          </p:nvSpPr>
          <p:spPr bwMode="auto">
            <a:xfrm>
              <a:off x="3257" y="1672"/>
              <a:ext cx="1509" cy="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4" name="Rectangle 532"/>
            <p:cNvSpPr>
              <a:spLocks noChangeArrowheads="1"/>
            </p:cNvSpPr>
            <p:nvPr/>
          </p:nvSpPr>
          <p:spPr bwMode="auto">
            <a:xfrm>
              <a:off x="432" y="1784"/>
              <a:ext cx="5048" cy="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5" name="Line 533"/>
            <p:cNvSpPr>
              <a:spLocks noChangeShapeType="1"/>
            </p:cNvSpPr>
            <p:nvPr/>
          </p:nvSpPr>
          <p:spPr bwMode="auto">
            <a:xfrm>
              <a:off x="777" y="3287"/>
              <a:ext cx="4703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6" name="Rectangle 534"/>
            <p:cNvSpPr>
              <a:spLocks noChangeArrowheads="1"/>
            </p:cNvSpPr>
            <p:nvPr/>
          </p:nvSpPr>
          <p:spPr bwMode="auto">
            <a:xfrm>
              <a:off x="777" y="3287"/>
              <a:ext cx="4703" cy="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7" name="Line 535"/>
            <p:cNvSpPr>
              <a:spLocks noChangeShapeType="1"/>
            </p:cNvSpPr>
            <p:nvPr/>
          </p:nvSpPr>
          <p:spPr bwMode="auto">
            <a:xfrm>
              <a:off x="432" y="3743"/>
              <a:ext cx="1" cy="160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8" name="Rectangle 536"/>
            <p:cNvSpPr>
              <a:spLocks noChangeArrowheads="1"/>
            </p:cNvSpPr>
            <p:nvPr/>
          </p:nvSpPr>
          <p:spPr bwMode="auto">
            <a:xfrm>
              <a:off x="432" y="3743"/>
              <a:ext cx="8" cy="160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09" name="Line 537"/>
            <p:cNvSpPr>
              <a:spLocks noChangeShapeType="1"/>
            </p:cNvSpPr>
            <p:nvPr/>
          </p:nvSpPr>
          <p:spPr bwMode="auto">
            <a:xfrm>
              <a:off x="777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0" name="Rectangle 538"/>
            <p:cNvSpPr>
              <a:spLocks noChangeArrowheads="1"/>
            </p:cNvSpPr>
            <p:nvPr/>
          </p:nvSpPr>
          <p:spPr bwMode="auto">
            <a:xfrm>
              <a:off x="777" y="3895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1" name="Line 539"/>
            <p:cNvSpPr>
              <a:spLocks noChangeShapeType="1"/>
            </p:cNvSpPr>
            <p:nvPr/>
          </p:nvSpPr>
          <p:spPr bwMode="auto">
            <a:xfrm>
              <a:off x="2069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2" name="Rectangle 540"/>
            <p:cNvSpPr>
              <a:spLocks noChangeArrowheads="1"/>
            </p:cNvSpPr>
            <p:nvPr/>
          </p:nvSpPr>
          <p:spPr bwMode="auto">
            <a:xfrm>
              <a:off x="2069" y="3895"/>
              <a:ext cx="1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3" name="Line 541"/>
            <p:cNvSpPr>
              <a:spLocks noChangeShapeType="1"/>
            </p:cNvSpPr>
            <p:nvPr/>
          </p:nvSpPr>
          <p:spPr bwMode="auto">
            <a:xfrm>
              <a:off x="2567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4" name="Rectangle 542"/>
            <p:cNvSpPr>
              <a:spLocks noChangeArrowheads="1"/>
            </p:cNvSpPr>
            <p:nvPr/>
          </p:nvSpPr>
          <p:spPr bwMode="auto">
            <a:xfrm>
              <a:off x="2567" y="3895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5" name="Line 543"/>
            <p:cNvSpPr>
              <a:spLocks noChangeShapeType="1"/>
            </p:cNvSpPr>
            <p:nvPr/>
          </p:nvSpPr>
          <p:spPr bwMode="auto">
            <a:xfrm>
              <a:off x="3257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6" name="Rectangle 544"/>
            <p:cNvSpPr>
              <a:spLocks noChangeArrowheads="1"/>
            </p:cNvSpPr>
            <p:nvPr/>
          </p:nvSpPr>
          <p:spPr bwMode="auto">
            <a:xfrm>
              <a:off x="3257" y="3895"/>
              <a:ext cx="1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7" name="Line 545"/>
            <p:cNvSpPr>
              <a:spLocks noChangeShapeType="1"/>
            </p:cNvSpPr>
            <p:nvPr/>
          </p:nvSpPr>
          <p:spPr bwMode="auto">
            <a:xfrm>
              <a:off x="3755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8" name="Rectangle 546"/>
            <p:cNvSpPr>
              <a:spLocks noChangeArrowheads="1"/>
            </p:cNvSpPr>
            <p:nvPr/>
          </p:nvSpPr>
          <p:spPr bwMode="auto">
            <a:xfrm>
              <a:off x="3755" y="3895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19" name="Line 547"/>
            <p:cNvSpPr>
              <a:spLocks noChangeShapeType="1"/>
            </p:cNvSpPr>
            <p:nvPr/>
          </p:nvSpPr>
          <p:spPr bwMode="auto">
            <a:xfrm>
              <a:off x="4260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0" name="Rectangle 548"/>
            <p:cNvSpPr>
              <a:spLocks noChangeArrowheads="1"/>
            </p:cNvSpPr>
            <p:nvPr/>
          </p:nvSpPr>
          <p:spPr bwMode="auto">
            <a:xfrm>
              <a:off x="4260" y="3895"/>
              <a:ext cx="1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1" name="Line 549"/>
            <p:cNvSpPr>
              <a:spLocks noChangeShapeType="1"/>
            </p:cNvSpPr>
            <p:nvPr/>
          </p:nvSpPr>
          <p:spPr bwMode="auto">
            <a:xfrm>
              <a:off x="4758" y="3895"/>
              <a:ext cx="1" cy="8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2" name="Rectangle 550"/>
            <p:cNvSpPr>
              <a:spLocks noChangeArrowheads="1"/>
            </p:cNvSpPr>
            <p:nvPr/>
          </p:nvSpPr>
          <p:spPr bwMode="auto">
            <a:xfrm>
              <a:off x="4758" y="3895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3" name="Line 551"/>
            <p:cNvSpPr>
              <a:spLocks noChangeShapeType="1"/>
            </p:cNvSpPr>
            <p:nvPr/>
          </p:nvSpPr>
          <p:spPr bwMode="auto">
            <a:xfrm>
              <a:off x="5480" y="3743"/>
              <a:ext cx="1" cy="160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4" name="Rectangle 552"/>
            <p:cNvSpPr>
              <a:spLocks noChangeArrowheads="1"/>
            </p:cNvSpPr>
            <p:nvPr/>
          </p:nvSpPr>
          <p:spPr bwMode="auto">
            <a:xfrm>
              <a:off x="5480" y="3743"/>
              <a:ext cx="1" cy="160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5" name="Line 553"/>
            <p:cNvSpPr>
              <a:spLocks noChangeShapeType="1"/>
            </p:cNvSpPr>
            <p:nvPr/>
          </p:nvSpPr>
          <p:spPr bwMode="auto">
            <a:xfrm>
              <a:off x="5480" y="1440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6" name="Rectangle 554"/>
            <p:cNvSpPr>
              <a:spLocks noChangeArrowheads="1"/>
            </p:cNvSpPr>
            <p:nvPr/>
          </p:nvSpPr>
          <p:spPr bwMode="auto">
            <a:xfrm>
              <a:off x="5480" y="1440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7" name="Line 555"/>
            <p:cNvSpPr>
              <a:spLocks noChangeShapeType="1"/>
            </p:cNvSpPr>
            <p:nvPr/>
          </p:nvSpPr>
          <p:spPr bwMode="auto">
            <a:xfrm>
              <a:off x="5480" y="1560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8" name="Rectangle 556"/>
            <p:cNvSpPr>
              <a:spLocks noChangeArrowheads="1"/>
            </p:cNvSpPr>
            <p:nvPr/>
          </p:nvSpPr>
          <p:spPr bwMode="auto">
            <a:xfrm>
              <a:off x="5480" y="1560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29" name="Line 557"/>
            <p:cNvSpPr>
              <a:spLocks noChangeShapeType="1"/>
            </p:cNvSpPr>
            <p:nvPr/>
          </p:nvSpPr>
          <p:spPr bwMode="auto">
            <a:xfrm>
              <a:off x="5480" y="1672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0" name="Rectangle 558"/>
            <p:cNvSpPr>
              <a:spLocks noChangeArrowheads="1"/>
            </p:cNvSpPr>
            <p:nvPr/>
          </p:nvSpPr>
          <p:spPr bwMode="auto">
            <a:xfrm>
              <a:off x="5480" y="1672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1" name="Line 559"/>
            <p:cNvSpPr>
              <a:spLocks noChangeShapeType="1"/>
            </p:cNvSpPr>
            <p:nvPr/>
          </p:nvSpPr>
          <p:spPr bwMode="auto">
            <a:xfrm>
              <a:off x="5480" y="1784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2" name="Rectangle 560"/>
            <p:cNvSpPr>
              <a:spLocks noChangeArrowheads="1"/>
            </p:cNvSpPr>
            <p:nvPr/>
          </p:nvSpPr>
          <p:spPr bwMode="auto">
            <a:xfrm>
              <a:off x="5480" y="1784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3" name="Line 561"/>
            <p:cNvSpPr>
              <a:spLocks noChangeShapeType="1"/>
            </p:cNvSpPr>
            <p:nvPr/>
          </p:nvSpPr>
          <p:spPr bwMode="auto">
            <a:xfrm>
              <a:off x="5480" y="1912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4" name="Rectangle 562"/>
            <p:cNvSpPr>
              <a:spLocks noChangeArrowheads="1"/>
            </p:cNvSpPr>
            <p:nvPr/>
          </p:nvSpPr>
          <p:spPr bwMode="auto">
            <a:xfrm>
              <a:off x="5480" y="1912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5" name="Line 563"/>
            <p:cNvSpPr>
              <a:spLocks noChangeShapeType="1"/>
            </p:cNvSpPr>
            <p:nvPr/>
          </p:nvSpPr>
          <p:spPr bwMode="auto">
            <a:xfrm>
              <a:off x="5480" y="2040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6" name="Rectangle 564"/>
            <p:cNvSpPr>
              <a:spLocks noChangeArrowheads="1"/>
            </p:cNvSpPr>
            <p:nvPr/>
          </p:nvSpPr>
          <p:spPr bwMode="auto">
            <a:xfrm>
              <a:off x="5480" y="2040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7" name="Line 565"/>
            <p:cNvSpPr>
              <a:spLocks noChangeShapeType="1"/>
            </p:cNvSpPr>
            <p:nvPr/>
          </p:nvSpPr>
          <p:spPr bwMode="auto">
            <a:xfrm>
              <a:off x="5480" y="2152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8" name="Rectangle 566"/>
            <p:cNvSpPr>
              <a:spLocks noChangeArrowheads="1"/>
            </p:cNvSpPr>
            <p:nvPr/>
          </p:nvSpPr>
          <p:spPr bwMode="auto">
            <a:xfrm>
              <a:off x="5480" y="2152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39" name="Line 567"/>
            <p:cNvSpPr>
              <a:spLocks noChangeShapeType="1"/>
            </p:cNvSpPr>
            <p:nvPr/>
          </p:nvSpPr>
          <p:spPr bwMode="auto">
            <a:xfrm>
              <a:off x="5480" y="2264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0" name="Rectangle 568"/>
            <p:cNvSpPr>
              <a:spLocks noChangeArrowheads="1"/>
            </p:cNvSpPr>
            <p:nvPr/>
          </p:nvSpPr>
          <p:spPr bwMode="auto">
            <a:xfrm>
              <a:off x="5480" y="2264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1" name="Line 569"/>
            <p:cNvSpPr>
              <a:spLocks noChangeShapeType="1"/>
            </p:cNvSpPr>
            <p:nvPr/>
          </p:nvSpPr>
          <p:spPr bwMode="auto">
            <a:xfrm>
              <a:off x="5480" y="2376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2" name="Rectangle 570"/>
            <p:cNvSpPr>
              <a:spLocks noChangeArrowheads="1"/>
            </p:cNvSpPr>
            <p:nvPr/>
          </p:nvSpPr>
          <p:spPr bwMode="auto">
            <a:xfrm>
              <a:off x="5480" y="2376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3" name="Line 571"/>
            <p:cNvSpPr>
              <a:spLocks noChangeShapeType="1"/>
            </p:cNvSpPr>
            <p:nvPr/>
          </p:nvSpPr>
          <p:spPr bwMode="auto">
            <a:xfrm>
              <a:off x="5480" y="2496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4" name="Rectangle 572"/>
            <p:cNvSpPr>
              <a:spLocks noChangeArrowheads="1"/>
            </p:cNvSpPr>
            <p:nvPr/>
          </p:nvSpPr>
          <p:spPr bwMode="auto">
            <a:xfrm>
              <a:off x="5480" y="2496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5" name="Line 573"/>
            <p:cNvSpPr>
              <a:spLocks noChangeShapeType="1"/>
            </p:cNvSpPr>
            <p:nvPr/>
          </p:nvSpPr>
          <p:spPr bwMode="auto">
            <a:xfrm>
              <a:off x="5480" y="2608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6" name="Rectangle 574"/>
            <p:cNvSpPr>
              <a:spLocks noChangeArrowheads="1"/>
            </p:cNvSpPr>
            <p:nvPr/>
          </p:nvSpPr>
          <p:spPr bwMode="auto">
            <a:xfrm>
              <a:off x="5480" y="2608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7" name="Line 575"/>
            <p:cNvSpPr>
              <a:spLocks noChangeShapeType="1"/>
            </p:cNvSpPr>
            <p:nvPr/>
          </p:nvSpPr>
          <p:spPr bwMode="auto">
            <a:xfrm>
              <a:off x="5480" y="2719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8" name="Rectangle 576"/>
            <p:cNvSpPr>
              <a:spLocks noChangeArrowheads="1"/>
            </p:cNvSpPr>
            <p:nvPr/>
          </p:nvSpPr>
          <p:spPr bwMode="auto">
            <a:xfrm>
              <a:off x="5480" y="2719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49" name="Line 577"/>
            <p:cNvSpPr>
              <a:spLocks noChangeShapeType="1"/>
            </p:cNvSpPr>
            <p:nvPr/>
          </p:nvSpPr>
          <p:spPr bwMode="auto">
            <a:xfrm>
              <a:off x="5480" y="2831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0" name="Rectangle 578"/>
            <p:cNvSpPr>
              <a:spLocks noChangeArrowheads="1"/>
            </p:cNvSpPr>
            <p:nvPr/>
          </p:nvSpPr>
          <p:spPr bwMode="auto">
            <a:xfrm>
              <a:off x="5480" y="2831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1" name="Line 579"/>
            <p:cNvSpPr>
              <a:spLocks noChangeShapeType="1"/>
            </p:cNvSpPr>
            <p:nvPr/>
          </p:nvSpPr>
          <p:spPr bwMode="auto">
            <a:xfrm>
              <a:off x="5480" y="2943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2" name="Rectangle 580"/>
            <p:cNvSpPr>
              <a:spLocks noChangeArrowheads="1"/>
            </p:cNvSpPr>
            <p:nvPr/>
          </p:nvSpPr>
          <p:spPr bwMode="auto">
            <a:xfrm>
              <a:off x="5480" y="2943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3" name="Line 581"/>
            <p:cNvSpPr>
              <a:spLocks noChangeShapeType="1"/>
            </p:cNvSpPr>
            <p:nvPr/>
          </p:nvSpPr>
          <p:spPr bwMode="auto">
            <a:xfrm>
              <a:off x="5480" y="3055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4" name="Rectangle 582"/>
            <p:cNvSpPr>
              <a:spLocks noChangeArrowheads="1"/>
            </p:cNvSpPr>
            <p:nvPr/>
          </p:nvSpPr>
          <p:spPr bwMode="auto">
            <a:xfrm>
              <a:off x="5480" y="3055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5" name="Line 583"/>
            <p:cNvSpPr>
              <a:spLocks noChangeShapeType="1"/>
            </p:cNvSpPr>
            <p:nvPr/>
          </p:nvSpPr>
          <p:spPr bwMode="auto">
            <a:xfrm>
              <a:off x="5480" y="3167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6" name="Rectangle 584"/>
            <p:cNvSpPr>
              <a:spLocks noChangeArrowheads="1"/>
            </p:cNvSpPr>
            <p:nvPr/>
          </p:nvSpPr>
          <p:spPr bwMode="auto">
            <a:xfrm>
              <a:off x="5480" y="3167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7" name="Line 585"/>
            <p:cNvSpPr>
              <a:spLocks noChangeShapeType="1"/>
            </p:cNvSpPr>
            <p:nvPr/>
          </p:nvSpPr>
          <p:spPr bwMode="auto">
            <a:xfrm>
              <a:off x="5480" y="3287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8" name="Rectangle 586"/>
            <p:cNvSpPr>
              <a:spLocks noChangeArrowheads="1"/>
            </p:cNvSpPr>
            <p:nvPr/>
          </p:nvSpPr>
          <p:spPr bwMode="auto">
            <a:xfrm>
              <a:off x="5480" y="3287"/>
              <a:ext cx="8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59" name="Line 587"/>
            <p:cNvSpPr>
              <a:spLocks noChangeShapeType="1"/>
            </p:cNvSpPr>
            <p:nvPr/>
          </p:nvSpPr>
          <p:spPr bwMode="auto">
            <a:xfrm>
              <a:off x="5480" y="3423"/>
              <a:ext cx="1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0" name="Rectangle 588"/>
            <p:cNvSpPr>
              <a:spLocks noChangeArrowheads="1"/>
            </p:cNvSpPr>
            <p:nvPr/>
          </p:nvSpPr>
          <p:spPr bwMode="auto">
            <a:xfrm>
              <a:off x="5480" y="3423"/>
              <a:ext cx="8" cy="8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1" name="Line 589"/>
            <p:cNvSpPr>
              <a:spLocks noChangeShapeType="1"/>
            </p:cNvSpPr>
            <p:nvPr/>
          </p:nvSpPr>
          <p:spPr bwMode="auto">
            <a:xfrm>
              <a:off x="440" y="3567"/>
              <a:ext cx="5040" cy="1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2" name="Rectangle 590"/>
            <p:cNvSpPr>
              <a:spLocks noChangeArrowheads="1"/>
            </p:cNvSpPr>
            <p:nvPr/>
          </p:nvSpPr>
          <p:spPr bwMode="auto">
            <a:xfrm>
              <a:off x="432" y="3567"/>
              <a:ext cx="5056" cy="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3" name="Rectangle 591"/>
            <p:cNvSpPr>
              <a:spLocks noChangeArrowheads="1"/>
            </p:cNvSpPr>
            <p:nvPr/>
          </p:nvSpPr>
          <p:spPr bwMode="auto">
            <a:xfrm>
              <a:off x="432" y="3735"/>
              <a:ext cx="5056" cy="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4" name="Line 592"/>
            <p:cNvSpPr>
              <a:spLocks noChangeShapeType="1"/>
            </p:cNvSpPr>
            <p:nvPr/>
          </p:nvSpPr>
          <p:spPr bwMode="auto">
            <a:xfrm>
              <a:off x="440" y="3895"/>
              <a:ext cx="5040" cy="1"/>
            </a:xfrm>
            <a:prstGeom prst="line">
              <a:avLst/>
            </a:prstGeom>
            <a:noFill/>
            <a:ln w="0">
              <a:solidFill>
                <a:srgbClr val="D0D7E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  <p:sp>
          <p:nvSpPr>
            <p:cNvPr id="3665" name="Rectangle 593"/>
            <p:cNvSpPr>
              <a:spLocks noChangeArrowheads="1"/>
            </p:cNvSpPr>
            <p:nvPr/>
          </p:nvSpPr>
          <p:spPr bwMode="auto">
            <a:xfrm>
              <a:off x="432" y="3895"/>
              <a:ext cx="5056" cy="1"/>
            </a:xfrm>
            <a:prstGeom prst="rect">
              <a:avLst/>
            </a:prstGeom>
            <a:solidFill>
              <a:srgbClr val="D0D7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00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The White Space Phenomenon</a:t>
            </a:r>
          </a:p>
        </p:txBody>
      </p:sp>
    </p:spTree>
    <p:extLst>
      <p:ext uri="{BB962C8B-B14F-4D97-AF65-F5344CB8AC3E}">
        <p14:creationId xmlns:p14="http://schemas.microsoft.com/office/powerpoint/2010/main" val="246244706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8245703"/>
              </p:ext>
            </p:extLst>
          </p:nvPr>
        </p:nvGraphicFramePr>
        <p:xfrm>
          <a:off x="884830" y="885725"/>
          <a:ext cx="7848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b="1" dirty="0">
                <a:latin typeface="Arial Narrow" pitchFamily="34" charset="0"/>
              </a:rPr>
              <a:t>3D Char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14400" y="5257800"/>
            <a:ext cx="2395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Arial Narrow" pitchFamily="34" charset="0"/>
              </a:defRPr>
            </a:lvl1pPr>
          </a:lstStyle>
          <a:p>
            <a:r>
              <a:rPr lang="en-US" sz="1400" dirty="0"/>
              <a:t>Source: INEC, BudgIT Research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5791200"/>
            <a:ext cx="80010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err="1"/>
              <a:t>Xxxxxx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152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489086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>
                <a:latin typeface="Arial Narrow" pitchFamily="34" charset="0"/>
              </a:rPr>
              <a:t>Infographic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US" dirty="0">
                <a:latin typeface="Arial Narrow" pitchFamily="34" charset="0"/>
              </a:rPr>
              <a:t>1. “A picture worth more than a thousand words</a:t>
            </a:r>
            <a:r>
              <a:rPr lang="en-US" dirty="0"/>
              <a:t>”. Using simple graphics to communicate complex amount of information or data </a:t>
            </a:r>
          </a:p>
          <a:p>
            <a:pPr marL="0" indent="0" algn="just">
              <a:buNone/>
            </a:pPr>
            <a:endParaRPr lang="en-US" dirty="0">
              <a:latin typeface="Arial Narrow" pitchFamily="34" charset="0"/>
            </a:endParaRPr>
          </a:p>
          <a:p>
            <a:pPr marL="0" indent="0" algn="just">
              <a:buNone/>
            </a:pPr>
            <a:r>
              <a:rPr lang="en-GB" dirty="0">
                <a:latin typeface="Arial Narrow" pitchFamily="34" charset="0"/>
              </a:rPr>
              <a:t>2. Creating an effective infographic requires </a:t>
            </a:r>
          </a:p>
          <a:p>
            <a:pPr lvl="2" algn="just">
              <a:buFont typeface="Wingdings" pitchFamily="2" charset="2"/>
              <a:buChar char="§"/>
            </a:pPr>
            <a:r>
              <a:rPr lang="en-GB" dirty="0">
                <a:latin typeface="Arial Narrow" pitchFamily="34" charset="0"/>
              </a:rPr>
              <a:t>A clear conceptualization of the message or story that the graphic is intended to convey</a:t>
            </a:r>
          </a:p>
          <a:p>
            <a:pPr lvl="2" algn="just">
              <a:buFont typeface="Wingdings" pitchFamily="2" charset="2"/>
              <a:buChar char="§"/>
            </a:pPr>
            <a:r>
              <a:rPr lang="en-GB" dirty="0">
                <a:latin typeface="Arial Narrow" pitchFamily="34" charset="0"/>
              </a:rPr>
              <a:t>A method for translating that concept into a ﬁnished product. </a:t>
            </a:r>
            <a:endParaRPr lang="en-US" dirty="0">
              <a:latin typeface="Arial Narrow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898121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914400"/>
            <a:ext cx="8343900" cy="533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41817" y="6400800"/>
            <a:ext cx="20217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 Narrow" pitchFamily="34" charset="0"/>
              </a:rPr>
              <a:t>Source: Nigerian Navy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43200" y="228600"/>
            <a:ext cx="4269117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2800" b="1"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Object-linked Representation</a:t>
            </a:r>
          </a:p>
        </p:txBody>
      </p:sp>
      <p:pic>
        <p:nvPicPr>
          <p:cNvPr id="6" name="Picture 5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152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59354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701" y="883053"/>
            <a:ext cx="8362950" cy="505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43200" y="228600"/>
            <a:ext cx="4269117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2800" b="1"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Object-linked Represent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1817" y="6096000"/>
            <a:ext cx="20217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 Narrow" pitchFamily="34" charset="0"/>
              </a:rPr>
              <a:t>Source: Nigerian Navy </a:t>
            </a:r>
          </a:p>
        </p:txBody>
      </p:sp>
      <p:pic>
        <p:nvPicPr>
          <p:cNvPr id="7" name="Picture 6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70290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yourbudgit.com/media/com_infographicsuploader/thumbnails/4324k1372092226198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228600"/>
            <a:ext cx="5373688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52400" y="1600200"/>
            <a:ext cx="282795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 Narrow" pitchFamily="34" charset="0"/>
              </a:rPr>
              <a:t>Data now better visualized, </a:t>
            </a:r>
          </a:p>
          <a:p>
            <a:r>
              <a:rPr lang="en-US" dirty="0">
                <a:latin typeface="Arial Narrow" pitchFamily="34" charset="0"/>
              </a:rPr>
              <a:t>What do you see? </a:t>
            </a:r>
          </a:p>
          <a:p>
            <a:endParaRPr lang="en-US" dirty="0">
              <a:latin typeface="Arial Narrow" pitchFamily="34" charset="0"/>
            </a:endParaRPr>
          </a:p>
          <a:p>
            <a:r>
              <a:rPr lang="en-US" dirty="0">
                <a:latin typeface="Arial Narrow" pitchFamily="34" charset="0"/>
              </a:rPr>
              <a:t>Using Maps effectively for data </a:t>
            </a:r>
          </a:p>
          <a:p>
            <a:r>
              <a:rPr lang="en-US" dirty="0">
                <a:latin typeface="Arial Narrow" pitchFamily="34" charset="0"/>
              </a:rPr>
              <a:t>Representation.  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-706272" y="262719"/>
            <a:ext cx="4038600" cy="10668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 b="1" dirty="0"/>
              <a:t>Maps </a:t>
            </a:r>
          </a:p>
        </p:txBody>
      </p:sp>
      <p:pic>
        <p:nvPicPr>
          <p:cNvPr id="7" name="Picture 6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57912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71005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066800"/>
            <a:ext cx="72390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133600" y="482025"/>
            <a:ext cx="470513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latin typeface="Arial Narrow" pitchFamily="34" charset="0"/>
              </a:rPr>
              <a:t>Infographics using Objects </a:t>
            </a:r>
          </a:p>
        </p:txBody>
      </p:sp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80769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009650"/>
            <a:ext cx="7515225" cy="531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819400" y="304799"/>
            <a:ext cx="470513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latin typeface="Arial Narrow" pitchFamily="34" charset="0"/>
              </a:rPr>
              <a:t>Infographics using Objects </a:t>
            </a:r>
          </a:p>
        </p:txBody>
      </p:sp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10886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21649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Dimension Objects with values </a:t>
            </a:r>
          </a:p>
          <a:p>
            <a:r>
              <a:rPr lang="en-US" sz="2800" dirty="0">
                <a:latin typeface="Arial Narrow" pitchFamily="34" charset="0"/>
              </a:rPr>
              <a:t>Use Colors Appropriately </a:t>
            </a:r>
          </a:p>
          <a:p>
            <a:r>
              <a:rPr lang="en-US" sz="2800" dirty="0">
                <a:latin typeface="Arial Narrow" pitchFamily="34" charset="0"/>
              </a:rPr>
              <a:t>Use Text Appropriately with Bold numbers</a:t>
            </a:r>
          </a:p>
          <a:p>
            <a:r>
              <a:rPr lang="en-US" sz="2800" dirty="0">
                <a:latin typeface="Arial Narrow" pitchFamily="34" charset="0"/>
              </a:rPr>
              <a:t>Work with Sequence </a:t>
            </a:r>
          </a:p>
          <a:p>
            <a:r>
              <a:rPr lang="en-US" sz="2800" dirty="0">
                <a:latin typeface="Arial Narrow" pitchFamily="34" charset="0"/>
              </a:rPr>
              <a:t>Clarity of Message and Story  </a:t>
            </a:r>
          </a:p>
          <a:p>
            <a:endParaRPr lang="en-US" sz="2800" dirty="0">
              <a:latin typeface="Arial Narrow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152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75649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fbcdn-sphotos-a-a.akamaihd.net/hphotos-ak-frc1/1175346_10151670434454584_532922057_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846512"/>
            <a:ext cx="6096000" cy="577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524000" y="992088"/>
            <a:ext cx="5791200" cy="455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524000" y="3719015"/>
            <a:ext cx="5486400" cy="455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>
                <a:latin typeface="Arial Narrow" pitchFamily="34" charset="0"/>
                <a:ea typeface="+mn-ea"/>
                <a:cs typeface="+mn-cs"/>
              </a:rPr>
              <a:t>Worksheet – Choose Data, Knowledge, Information &amp; Presentation </a:t>
            </a:r>
          </a:p>
        </p:txBody>
      </p:sp>
      <p:sp>
        <p:nvSpPr>
          <p:cNvPr id="5" name="Rectangle 4"/>
          <p:cNvSpPr/>
          <p:nvPr/>
        </p:nvSpPr>
        <p:spPr>
          <a:xfrm>
            <a:off x="1410269" y="6264322"/>
            <a:ext cx="58674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59436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429576"/>
      </p:ext>
    </p:extLst>
  </p:cSld>
  <p:clrMapOvr>
    <a:masterClrMapping/>
  </p:clrMapOvr>
  <p:transition advClick="0" advTm="0"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3400" y="1017411"/>
            <a:ext cx="8229600" cy="3478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3000" b="1">
                <a:solidFill>
                  <a:schemeClr val="accent5">
                    <a:lumMod val="50000"/>
                  </a:schemeClr>
                </a:solidFill>
                <a:latin typeface="Candara" pitchFamily="34" charset="0"/>
              </a:defRPr>
            </a:lvl1pPr>
          </a:lstStyle>
          <a:p>
            <a:endParaRPr lang="en-US" sz="4000" dirty="0">
              <a:solidFill>
                <a:schemeClr val="tx1"/>
              </a:solidFill>
              <a:latin typeface="Arial Narrow" pitchFamily="34" charset="0"/>
            </a:endParaRPr>
          </a:p>
          <a:p>
            <a:endParaRPr lang="en-US" sz="4000" dirty="0">
              <a:solidFill>
                <a:schemeClr val="tx1"/>
              </a:solidFill>
              <a:latin typeface="Arial Narrow" pitchFamily="34" charset="0"/>
            </a:endParaRPr>
          </a:p>
          <a:p>
            <a:r>
              <a:rPr lang="en-US" sz="4000" dirty="0">
                <a:solidFill>
                  <a:schemeClr val="tx1"/>
                </a:solidFill>
                <a:latin typeface="Arial Narrow" pitchFamily="34" charset="0"/>
              </a:rPr>
              <a:t>Microsoft PowerPoint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latin typeface="Arial Narrow" pitchFamily="34" charset="0"/>
              </a:rPr>
              <a:t> Developing Simple Charts and Visualisations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Arial Narrow" pitchFamily="34" charset="0"/>
              </a:rPr>
              <a:t>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Budgit 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5334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01731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228600"/>
            <a:ext cx="41905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Opening a PowerPoint Page 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 flipH="1">
            <a:off x="5715000" y="2385515"/>
            <a:ext cx="1219200" cy="125730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6096000" y="3429000"/>
            <a:ext cx="1219200" cy="125730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59223" y="6178350"/>
            <a:ext cx="883237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To start using </a:t>
            </a:r>
            <a:r>
              <a:rPr lang="en-US" dirty="0" err="1">
                <a:latin typeface="Arial Narrow" panose="020B0606020202030204" pitchFamily="34" charset="0"/>
              </a:rPr>
              <a:t>Powerpoint</a:t>
            </a:r>
            <a:r>
              <a:rPr lang="en-US" dirty="0">
                <a:latin typeface="Arial Narrow" panose="020B0606020202030204" pitchFamily="34" charset="0"/>
              </a:rPr>
              <a:t>, there are boxes to put your title and subtitle as shown above. 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Hold </a:t>
            </a:r>
            <a:r>
              <a:rPr lang="en-US" i="1" dirty="0">
                <a:latin typeface="Arial Narrow" panose="020B0606020202030204" pitchFamily="34" charset="0"/>
              </a:rPr>
              <a:t>Control and M </a:t>
            </a:r>
            <a:r>
              <a:rPr lang="en-US" dirty="0">
                <a:latin typeface="Arial Narrow" panose="020B0606020202030204" pitchFamily="34" charset="0"/>
              </a:rPr>
              <a:t>to add more slides at the left hand corner.</a:t>
            </a: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1" r="6320"/>
          <a:stretch/>
        </p:blipFill>
        <p:spPr bwMode="auto">
          <a:xfrm>
            <a:off x="159223" y="1128002"/>
            <a:ext cx="8534400" cy="4682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/>
          <p:cNvCxnSpPr/>
          <p:nvPr/>
        </p:nvCxnSpPr>
        <p:spPr>
          <a:xfrm flipH="1">
            <a:off x="6515100" y="1219200"/>
            <a:ext cx="1600200" cy="283845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6934200" y="1833065"/>
            <a:ext cx="2057400" cy="3272335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4488654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56428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Putting up a PowerPoint Background 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27379" y="6019800"/>
            <a:ext cx="883237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</a:t>
            </a:r>
            <a:r>
              <a:rPr lang="en-US" b="1" dirty="0">
                <a:latin typeface="Arial Narrow" panose="020B0606020202030204" pitchFamily="34" charset="0"/>
              </a:rPr>
              <a:t>Design</a:t>
            </a:r>
            <a:r>
              <a:rPr lang="en-US" dirty="0">
                <a:latin typeface="Arial Narrow" panose="020B0606020202030204" pitchFamily="34" charset="0"/>
              </a:rPr>
              <a:t> on the top corner of the PowerPoint slide  and choose which design will be most effective.   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147549"/>
            <a:ext cx="8839200" cy="4672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 flipH="1">
            <a:off x="2514600" y="652462"/>
            <a:ext cx="1221245" cy="1285875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646237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28312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Opening the Chart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152525"/>
            <a:ext cx="6010275" cy="463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Arrow Connector 6"/>
          <p:cNvCxnSpPr/>
          <p:nvPr/>
        </p:nvCxnSpPr>
        <p:spPr>
          <a:xfrm flipH="1">
            <a:off x="4499891" y="838200"/>
            <a:ext cx="1600200" cy="283845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27379" y="5943600"/>
            <a:ext cx="883237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the chart tool on the Microsoft PowerPoint page and it opens a new Excel sheet.  </a:t>
            </a:r>
          </a:p>
        </p:txBody>
      </p:sp>
    </p:spTree>
    <p:extLst>
      <p:ext uri="{BB962C8B-B14F-4D97-AF65-F5344CB8AC3E}">
        <p14:creationId xmlns:p14="http://schemas.microsoft.com/office/powerpoint/2010/main" val="393788060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1096962"/>
            <a:ext cx="6934200" cy="731838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0200" y="1981200"/>
            <a:ext cx="6934200" cy="3992563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endParaRPr lang="en-US" dirty="0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6143767" y="42136"/>
            <a:ext cx="2743200" cy="1143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>
            <a:off x="6400800" y="990600"/>
            <a:ext cx="2486167" cy="1143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57200" y="228600"/>
            <a:ext cx="41905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Opening a PowerPoint Page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36478" y="6148738"/>
            <a:ext cx="883237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Type in the relevant content into the space </a:t>
            </a:r>
          </a:p>
        </p:txBody>
      </p:sp>
    </p:spTree>
    <p:extLst>
      <p:ext uri="{BB962C8B-B14F-4D97-AF65-F5344CB8AC3E}">
        <p14:creationId xmlns:p14="http://schemas.microsoft.com/office/powerpoint/2010/main" val="239543401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42584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Choosing an Array of Chart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942975"/>
            <a:ext cx="9001125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990600" y="1828800"/>
            <a:ext cx="1371600" cy="3048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27379" y="6176876"/>
            <a:ext cx="883237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the  appropriate chart tool on the Microsoft PowerPoint.  </a:t>
            </a:r>
          </a:p>
        </p:txBody>
      </p:sp>
    </p:spTree>
    <p:extLst>
      <p:ext uri="{BB962C8B-B14F-4D97-AF65-F5344CB8AC3E}">
        <p14:creationId xmlns:p14="http://schemas.microsoft.com/office/powerpoint/2010/main" val="5491439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95" y="1295400"/>
            <a:ext cx="7768191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" y="228600"/>
            <a:ext cx="28312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Opening the Chart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5791200" y="-304800"/>
            <a:ext cx="1600200" cy="283845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95701" y="5759355"/>
            <a:ext cx="883237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Edit the Excel Sheet appropriately and add the content to be visualized.   </a:t>
            </a:r>
          </a:p>
          <a:p>
            <a:pPr marL="342900" indent="-342900"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After completion, close the Excel Sheet. </a:t>
            </a:r>
          </a:p>
        </p:txBody>
      </p:sp>
      <p:cxnSp>
        <p:nvCxnSpPr>
          <p:cNvPr id="3" name="Straight Arrow Connector 2"/>
          <p:cNvCxnSpPr/>
          <p:nvPr/>
        </p:nvCxnSpPr>
        <p:spPr>
          <a:xfrm flipH="1">
            <a:off x="3902691" y="49515"/>
            <a:ext cx="952500" cy="140461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9698687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962" y="1295400"/>
            <a:ext cx="6808076" cy="4091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" y="228600"/>
            <a:ext cx="27655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Coloring the Chart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5282762" y="152400"/>
            <a:ext cx="2032438" cy="167640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066800" y="5562601"/>
            <a:ext cx="6164523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1. Click on the chart to activate the chart options. </a:t>
            </a:r>
          </a:p>
          <a:p>
            <a:r>
              <a:rPr lang="en-US" dirty="0">
                <a:latin typeface="Arial Narrow" panose="020B0606020202030204" pitchFamily="34" charset="0"/>
              </a:rPr>
              <a:t>2. Colour the charts by clicking on the array of icons on top. 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3902691" y="49515"/>
            <a:ext cx="952500" cy="140461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004334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31726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Formatting the Chart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143000"/>
            <a:ext cx="7458075" cy="4792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3902691" y="205854"/>
            <a:ext cx="952500" cy="140461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57200" y="6059269"/>
            <a:ext cx="7315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1. Choose the array of options highlighted to improve your charting options. </a:t>
            </a:r>
          </a:p>
          <a:p>
            <a:r>
              <a:rPr lang="en-US" dirty="0">
                <a:latin typeface="Arial Narrow" panose="020B0606020202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38484996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4857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Formatting Charts in PowerPoint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03" y="1143000"/>
            <a:ext cx="7458075" cy="4792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3902691" y="205854"/>
            <a:ext cx="952500" cy="140461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5800" y="6059269"/>
            <a:ext cx="7315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1. Choose the array of options highlighted to improve your charting options. </a:t>
            </a:r>
          </a:p>
          <a:p>
            <a:r>
              <a:rPr lang="en-US" dirty="0">
                <a:latin typeface="Arial Narrow" panose="020B0606020202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9960834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6309007" y="4611134"/>
            <a:ext cx="685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7908" y="5370828"/>
            <a:ext cx="144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 Narrow" pitchFamily="34" charset="0"/>
              </a:rPr>
              <a:t>Data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7908" y="4095690"/>
            <a:ext cx="18924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 Narrow" pitchFamily="34" charset="0"/>
              </a:rPr>
              <a:t>Information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73155" y="1144879"/>
            <a:ext cx="29206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 Narrow" pitchFamily="34" charset="0"/>
              </a:rPr>
              <a:t>Personalization 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92573" y="2936858"/>
            <a:ext cx="29206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dirty="0"/>
              <a:t>Presentation  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3909230" y="1434740"/>
            <a:ext cx="712527" cy="382306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-1361" y="5935297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b="1" dirty="0">
                <a:latin typeface="Arial Narrow" pitchFamily="34" charset="0"/>
              </a:rPr>
              <a:t>The Lifecycle of Data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7908" y="2328686"/>
            <a:ext cx="29206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 Narrow" pitchFamily="34" charset="0"/>
              </a:rPr>
              <a:t>Knowledge  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5943603" y="1600201"/>
            <a:ext cx="1084410" cy="1821598"/>
            <a:chOff x="4583114" y="1316038"/>
            <a:chExt cx="630237" cy="936625"/>
          </a:xfrm>
          <a:solidFill>
            <a:schemeClr val="tx2"/>
          </a:solidFill>
        </p:grpSpPr>
        <p:sp>
          <p:nvSpPr>
            <p:cNvPr id="55" name="Freeform 329"/>
            <p:cNvSpPr>
              <a:spLocks/>
            </p:cNvSpPr>
            <p:nvPr/>
          </p:nvSpPr>
          <p:spPr bwMode="auto">
            <a:xfrm>
              <a:off x="4640264" y="1317625"/>
              <a:ext cx="222250" cy="63500"/>
            </a:xfrm>
            <a:custGeom>
              <a:avLst/>
              <a:gdLst>
                <a:gd name="T0" fmla="*/ 557 w 557"/>
                <a:gd name="T1" fmla="*/ 0 h 160"/>
                <a:gd name="T2" fmla="*/ 0 w 557"/>
                <a:gd name="T3" fmla="*/ 160 h 160"/>
                <a:gd name="T4" fmla="*/ 17 w 557"/>
                <a:gd name="T5" fmla="*/ 147 h 160"/>
                <a:gd name="T6" fmla="*/ 36 w 557"/>
                <a:gd name="T7" fmla="*/ 136 h 160"/>
                <a:gd name="T8" fmla="*/ 58 w 557"/>
                <a:gd name="T9" fmla="*/ 125 h 160"/>
                <a:gd name="T10" fmla="*/ 81 w 557"/>
                <a:gd name="T11" fmla="*/ 113 h 160"/>
                <a:gd name="T12" fmla="*/ 105 w 557"/>
                <a:gd name="T13" fmla="*/ 100 h 160"/>
                <a:gd name="T14" fmla="*/ 132 w 557"/>
                <a:gd name="T15" fmla="*/ 87 h 160"/>
                <a:gd name="T16" fmla="*/ 160 w 557"/>
                <a:gd name="T17" fmla="*/ 73 h 160"/>
                <a:gd name="T18" fmla="*/ 191 w 557"/>
                <a:gd name="T19" fmla="*/ 58 h 160"/>
                <a:gd name="T20" fmla="*/ 204 w 557"/>
                <a:gd name="T21" fmla="*/ 51 h 160"/>
                <a:gd name="T22" fmla="*/ 219 w 557"/>
                <a:gd name="T23" fmla="*/ 46 h 160"/>
                <a:gd name="T24" fmla="*/ 235 w 557"/>
                <a:gd name="T25" fmla="*/ 41 h 160"/>
                <a:gd name="T26" fmla="*/ 254 w 557"/>
                <a:gd name="T27" fmla="*/ 36 h 160"/>
                <a:gd name="T28" fmla="*/ 273 w 557"/>
                <a:gd name="T29" fmla="*/ 31 h 160"/>
                <a:gd name="T30" fmla="*/ 294 w 557"/>
                <a:gd name="T31" fmla="*/ 27 h 160"/>
                <a:gd name="T32" fmla="*/ 316 w 557"/>
                <a:gd name="T33" fmla="*/ 22 h 160"/>
                <a:gd name="T34" fmla="*/ 339 w 557"/>
                <a:gd name="T35" fmla="*/ 19 h 160"/>
                <a:gd name="T36" fmla="*/ 389 w 557"/>
                <a:gd name="T37" fmla="*/ 12 h 160"/>
                <a:gd name="T38" fmla="*/ 442 w 557"/>
                <a:gd name="T39" fmla="*/ 6 h 160"/>
                <a:gd name="T40" fmla="*/ 499 w 557"/>
                <a:gd name="T41" fmla="*/ 3 h 160"/>
                <a:gd name="T42" fmla="*/ 557 w 557"/>
                <a:gd name="T4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7" h="160">
                  <a:moveTo>
                    <a:pt x="557" y="0"/>
                  </a:moveTo>
                  <a:lnTo>
                    <a:pt x="0" y="160"/>
                  </a:lnTo>
                  <a:lnTo>
                    <a:pt x="17" y="147"/>
                  </a:lnTo>
                  <a:lnTo>
                    <a:pt x="36" y="136"/>
                  </a:lnTo>
                  <a:lnTo>
                    <a:pt x="58" y="125"/>
                  </a:lnTo>
                  <a:lnTo>
                    <a:pt x="81" y="113"/>
                  </a:lnTo>
                  <a:lnTo>
                    <a:pt x="105" y="100"/>
                  </a:lnTo>
                  <a:lnTo>
                    <a:pt x="132" y="87"/>
                  </a:lnTo>
                  <a:lnTo>
                    <a:pt x="160" y="73"/>
                  </a:lnTo>
                  <a:lnTo>
                    <a:pt x="191" y="58"/>
                  </a:lnTo>
                  <a:lnTo>
                    <a:pt x="204" y="51"/>
                  </a:lnTo>
                  <a:lnTo>
                    <a:pt x="219" y="46"/>
                  </a:lnTo>
                  <a:lnTo>
                    <a:pt x="235" y="41"/>
                  </a:lnTo>
                  <a:lnTo>
                    <a:pt x="254" y="36"/>
                  </a:lnTo>
                  <a:lnTo>
                    <a:pt x="273" y="31"/>
                  </a:lnTo>
                  <a:lnTo>
                    <a:pt x="294" y="27"/>
                  </a:lnTo>
                  <a:lnTo>
                    <a:pt x="316" y="22"/>
                  </a:lnTo>
                  <a:lnTo>
                    <a:pt x="339" y="19"/>
                  </a:lnTo>
                  <a:lnTo>
                    <a:pt x="389" y="12"/>
                  </a:lnTo>
                  <a:lnTo>
                    <a:pt x="442" y="6"/>
                  </a:lnTo>
                  <a:lnTo>
                    <a:pt x="499" y="3"/>
                  </a:lnTo>
                  <a:lnTo>
                    <a:pt x="5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330"/>
            <p:cNvSpPr>
              <a:spLocks/>
            </p:cNvSpPr>
            <p:nvPr/>
          </p:nvSpPr>
          <p:spPr bwMode="auto">
            <a:xfrm>
              <a:off x="4611689" y="1316038"/>
              <a:ext cx="327025" cy="95250"/>
            </a:xfrm>
            <a:custGeom>
              <a:avLst/>
              <a:gdLst>
                <a:gd name="T0" fmla="*/ 824 w 824"/>
                <a:gd name="T1" fmla="*/ 3 h 239"/>
                <a:gd name="T2" fmla="*/ 0 w 824"/>
                <a:gd name="T3" fmla="*/ 239 h 239"/>
                <a:gd name="T4" fmla="*/ 8 w 824"/>
                <a:gd name="T5" fmla="*/ 225 h 239"/>
                <a:gd name="T6" fmla="*/ 19 w 824"/>
                <a:gd name="T7" fmla="*/ 211 h 239"/>
                <a:gd name="T8" fmla="*/ 30 w 824"/>
                <a:gd name="T9" fmla="*/ 199 h 239"/>
                <a:gd name="T10" fmla="*/ 42 w 824"/>
                <a:gd name="T11" fmla="*/ 187 h 239"/>
                <a:gd name="T12" fmla="*/ 53 w 824"/>
                <a:gd name="T13" fmla="*/ 176 h 239"/>
                <a:gd name="T14" fmla="*/ 67 w 824"/>
                <a:gd name="T15" fmla="*/ 165 h 239"/>
                <a:gd name="T16" fmla="*/ 81 w 824"/>
                <a:gd name="T17" fmla="*/ 155 h 239"/>
                <a:gd name="T18" fmla="*/ 96 w 824"/>
                <a:gd name="T19" fmla="*/ 145 h 239"/>
                <a:gd name="T20" fmla="*/ 131 w 824"/>
                <a:gd name="T21" fmla="*/ 126 h 239"/>
                <a:gd name="T22" fmla="*/ 171 w 824"/>
                <a:gd name="T23" fmla="*/ 105 h 239"/>
                <a:gd name="T24" fmla="*/ 215 w 824"/>
                <a:gd name="T25" fmla="*/ 84 h 239"/>
                <a:gd name="T26" fmla="*/ 265 w 824"/>
                <a:gd name="T27" fmla="*/ 59 h 239"/>
                <a:gd name="T28" fmla="*/ 284 w 824"/>
                <a:gd name="T29" fmla="*/ 50 h 239"/>
                <a:gd name="T30" fmla="*/ 306 w 824"/>
                <a:gd name="T31" fmla="*/ 43 h 239"/>
                <a:gd name="T32" fmla="*/ 331 w 824"/>
                <a:gd name="T33" fmla="*/ 36 h 239"/>
                <a:gd name="T34" fmla="*/ 359 w 824"/>
                <a:gd name="T35" fmla="*/ 30 h 239"/>
                <a:gd name="T36" fmla="*/ 389 w 824"/>
                <a:gd name="T37" fmla="*/ 23 h 239"/>
                <a:gd name="T38" fmla="*/ 422 w 824"/>
                <a:gd name="T39" fmla="*/ 18 h 239"/>
                <a:gd name="T40" fmla="*/ 457 w 824"/>
                <a:gd name="T41" fmla="*/ 14 h 239"/>
                <a:gd name="T42" fmla="*/ 493 w 824"/>
                <a:gd name="T43" fmla="*/ 9 h 239"/>
                <a:gd name="T44" fmla="*/ 532 w 824"/>
                <a:gd name="T45" fmla="*/ 6 h 239"/>
                <a:gd name="T46" fmla="*/ 572 w 824"/>
                <a:gd name="T47" fmla="*/ 4 h 239"/>
                <a:gd name="T48" fmla="*/ 613 w 824"/>
                <a:gd name="T49" fmla="*/ 2 h 239"/>
                <a:gd name="T50" fmla="*/ 654 w 824"/>
                <a:gd name="T51" fmla="*/ 1 h 239"/>
                <a:gd name="T52" fmla="*/ 696 w 824"/>
                <a:gd name="T53" fmla="*/ 0 h 239"/>
                <a:gd name="T54" fmla="*/ 739 w 824"/>
                <a:gd name="T55" fmla="*/ 1 h 239"/>
                <a:gd name="T56" fmla="*/ 781 w 824"/>
                <a:gd name="T57" fmla="*/ 2 h 239"/>
                <a:gd name="T58" fmla="*/ 824 w 824"/>
                <a:gd name="T59" fmla="*/ 3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4" h="239">
                  <a:moveTo>
                    <a:pt x="824" y="3"/>
                  </a:moveTo>
                  <a:lnTo>
                    <a:pt x="0" y="239"/>
                  </a:lnTo>
                  <a:lnTo>
                    <a:pt x="8" y="225"/>
                  </a:lnTo>
                  <a:lnTo>
                    <a:pt x="19" y="211"/>
                  </a:lnTo>
                  <a:lnTo>
                    <a:pt x="30" y="199"/>
                  </a:lnTo>
                  <a:lnTo>
                    <a:pt x="42" y="187"/>
                  </a:lnTo>
                  <a:lnTo>
                    <a:pt x="53" y="176"/>
                  </a:lnTo>
                  <a:lnTo>
                    <a:pt x="67" y="165"/>
                  </a:lnTo>
                  <a:lnTo>
                    <a:pt x="81" y="155"/>
                  </a:lnTo>
                  <a:lnTo>
                    <a:pt x="96" y="145"/>
                  </a:lnTo>
                  <a:lnTo>
                    <a:pt x="131" y="126"/>
                  </a:lnTo>
                  <a:lnTo>
                    <a:pt x="171" y="105"/>
                  </a:lnTo>
                  <a:lnTo>
                    <a:pt x="215" y="84"/>
                  </a:lnTo>
                  <a:lnTo>
                    <a:pt x="265" y="59"/>
                  </a:lnTo>
                  <a:lnTo>
                    <a:pt x="284" y="50"/>
                  </a:lnTo>
                  <a:lnTo>
                    <a:pt x="306" y="43"/>
                  </a:lnTo>
                  <a:lnTo>
                    <a:pt x="331" y="36"/>
                  </a:lnTo>
                  <a:lnTo>
                    <a:pt x="359" y="30"/>
                  </a:lnTo>
                  <a:lnTo>
                    <a:pt x="389" y="23"/>
                  </a:lnTo>
                  <a:lnTo>
                    <a:pt x="422" y="18"/>
                  </a:lnTo>
                  <a:lnTo>
                    <a:pt x="457" y="14"/>
                  </a:lnTo>
                  <a:lnTo>
                    <a:pt x="493" y="9"/>
                  </a:lnTo>
                  <a:lnTo>
                    <a:pt x="532" y="6"/>
                  </a:lnTo>
                  <a:lnTo>
                    <a:pt x="572" y="4"/>
                  </a:lnTo>
                  <a:lnTo>
                    <a:pt x="613" y="2"/>
                  </a:lnTo>
                  <a:lnTo>
                    <a:pt x="654" y="1"/>
                  </a:lnTo>
                  <a:lnTo>
                    <a:pt x="696" y="0"/>
                  </a:lnTo>
                  <a:lnTo>
                    <a:pt x="739" y="1"/>
                  </a:lnTo>
                  <a:lnTo>
                    <a:pt x="781" y="2"/>
                  </a:lnTo>
                  <a:lnTo>
                    <a:pt x="82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31"/>
            <p:cNvSpPr>
              <a:spLocks/>
            </p:cNvSpPr>
            <p:nvPr/>
          </p:nvSpPr>
          <p:spPr bwMode="auto">
            <a:xfrm>
              <a:off x="4598989" y="1316038"/>
              <a:ext cx="398463" cy="122238"/>
            </a:xfrm>
            <a:custGeom>
              <a:avLst/>
              <a:gdLst>
                <a:gd name="T0" fmla="*/ 104 w 1003"/>
                <a:gd name="T1" fmla="*/ 161 h 304"/>
                <a:gd name="T2" fmla="*/ 661 w 1003"/>
                <a:gd name="T3" fmla="*/ 1 h 304"/>
                <a:gd name="T4" fmla="*/ 704 w 1003"/>
                <a:gd name="T5" fmla="*/ 1 h 304"/>
                <a:gd name="T6" fmla="*/ 748 w 1003"/>
                <a:gd name="T7" fmla="*/ 0 h 304"/>
                <a:gd name="T8" fmla="*/ 791 w 1003"/>
                <a:gd name="T9" fmla="*/ 1 h 304"/>
                <a:gd name="T10" fmla="*/ 835 w 1003"/>
                <a:gd name="T11" fmla="*/ 3 h 304"/>
                <a:gd name="T12" fmla="*/ 878 w 1003"/>
                <a:gd name="T13" fmla="*/ 5 h 304"/>
                <a:gd name="T14" fmla="*/ 920 w 1003"/>
                <a:gd name="T15" fmla="*/ 8 h 304"/>
                <a:gd name="T16" fmla="*/ 962 w 1003"/>
                <a:gd name="T17" fmla="*/ 13 h 304"/>
                <a:gd name="T18" fmla="*/ 1003 w 1003"/>
                <a:gd name="T19" fmla="*/ 18 h 304"/>
                <a:gd name="T20" fmla="*/ 0 w 1003"/>
                <a:gd name="T21" fmla="*/ 304 h 304"/>
                <a:gd name="T22" fmla="*/ 9 w 1003"/>
                <a:gd name="T23" fmla="*/ 279 h 304"/>
                <a:gd name="T24" fmla="*/ 19 w 1003"/>
                <a:gd name="T25" fmla="*/ 258 h 304"/>
                <a:gd name="T26" fmla="*/ 31 w 1003"/>
                <a:gd name="T27" fmla="*/ 237 h 304"/>
                <a:gd name="T28" fmla="*/ 43 w 1003"/>
                <a:gd name="T29" fmla="*/ 219 h 304"/>
                <a:gd name="T30" fmla="*/ 56 w 1003"/>
                <a:gd name="T31" fmla="*/ 203 h 304"/>
                <a:gd name="T32" fmla="*/ 71 w 1003"/>
                <a:gd name="T33" fmla="*/ 188 h 304"/>
                <a:gd name="T34" fmla="*/ 86 w 1003"/>
                <a:gd name="T35" fmla="*/ 174 h 304"/>
                <a:gd name="T36" fmla="*/ 104 w 1003"/>
                <a:gd name="T37" fmla="*/ 16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3" h="304">
                  <a:moveTo>
                    <a:pt x="104" y="161"/>
                  </a:moveTo>
                  <a:lnTo>
                    <a:pt x="661" y="1"/>
                  </a:lnTo>
                  <a:lnTo>
                    <a:pt x="704" y="1"/>
                  </a:lnTo>
                  <a:lnTo>
                    <a:pt x="748" y="0"/>
                  </a:lnTo>
                  <a:lnTo>
                    <a:pt x="791" y="1"/>
                  </a:lnTo>
                  <a:lnTo>
                    <a:pt x="835" y="3"/>
                  </a:lnTo>
                  <a:lnTo>
                    <a:pt x="878" y="5"/>
                  </a:lnTo>
                  <a:lnTo>
                    <a:pt x="920" y="8"/>
                  </a:lnTo>
                  <a:lnTo>
                    <a:pt x="962" y="13"/>
                  </a:lnTo>
                  <a:lnTo>
                    <a:pt x="1003" y="18"/>
                  </a:lnTo>
                  <a:lnTo>
                    <a:pt x="0" y="304"/>
                  </a:lnTo>
                  <a:lnTo>
                    <a:pt x="9" y="279"/>
                  </a:lnTo>
                  <a:lnTo>
                    <a:pt x="19" y="258"/>
                  </a:lnTo>
                  <a:lnTo>
                    <a:pt x="31" y="237"/>
                  </a:lnTo>
                  <a:lnTo>
                    <a:pt x="43" y="219"/>
                  </a:lnTo>
                  <a:lnTo>
                    <a:pt x="56" y="203"/>
                  </a:lnTo>
                  <a:lnTo>
                    <a:pt x="71" y="188"/>
                  </a:lnTo>
                  <a:lnTo>
                    <a:pt x="86" y="174"/>
                  </a:lnTo>
                  <a:lnTo>
                    <a:pt x="104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32"/>
            <p:cNvSpPr>
              <a:spLocks/>
            </p:cNvSpPr>
            <p:nvPr/>
          </p:nvSpPr>
          <p:spPr bwMode="auto">
            <a:xfrm>
              <a:off x="4592639" y="1317625"/>
              <a:ext cx="452438" cy="144463"/>
            </a:xfrm>
            <a:custGeom>
              <a:avLst/>
              <a:gdLst>
                <a:gd name="T0" fmla="*/ 49 w 1140"/>
                <a:gd name="T1" fmla="*/ 236 h 364"/>
                <a:gd name="T2" fmla="*/ 873 w 1140"/>
                <a:gd name="T3" fmla="*/ 0 h 364"/>
                <a:gd name="T4" fmla="*/ 909 w 1140"/>
                <a:gd name="T5" fmla="*/ 3 h 364"/>
                <a:gd name="T6" fmla="*/ 945 w 1140"/>
                <a:gd name="T7" fmla="*/ 5 h 364"/>
                <a:gd name="T8" fmla="*/ 980 w 1140"/>
                <a:gd name="T9" fmla="*/ 10 h 364"/>
                <a:gd name="T10" fmla="*/ 1014 w 1140"/>
                <a:gd name="T11" fmla="*/ 14 h 364"/>
                <a:gd name="T12" fmla="*/ 1048 w 1140"/>
                <a:gd name="T13" fmla="*/ 19 h 364"/>
                <a:gd name="T14" fmla="*/ 1080 w 1140"/>
                <a:gd name="T15" fmla="*/ 25 h 364"/>
                <a:gd name="T16" fmla="*/ 1111 w 1140"/>
                <a:gd name="T17" fmla="*/ 31 h 364"/>
                <a:gd name="T18" fmla="*/ 1140 w 1140"/>
                <a:gd name="T19" fmla="*/ 38 h 364"/>
                <a:gd name="T20" fmla="*/ 0 w 1140"/>
                <a:gd name="T21" fmla="*/ 364 h 364"/>
                <a:gd name="T22" fmla="*/ 4 w 1140"/>
                <a:gd name="T23" fmla="*/ 353 h 364"/>
                <a:gd name="T24" fmla="*/ 6 w 1140"/>
                <a:gd name="T25" fmla="*/ 341 h 364"/>
                <a:gd name="T26" fmla="*/ 15 w 1140"/>
                <a:gd name="T27" fmla="*/ 311 h 364"/>
                <a:gd name="T28" fmla="*/ 25 w 1140"/>
                <a:gd name="T29" fmla="*/ 283 h 364"/>
                <a:gd name="T30" fmla="*/ 37 w 1140"/>
                <a:gd name="T31" fmla="*/ 258 h 364"/>
                <a:gd name="T32" fmla="*/ 49 w 1140"/>
                <a:gd name="T33" fmla="*/ 236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0" h="364">
                  <a:moveTo>
                    <a:pt x="49" y="236"/>
                  </a:moveTo>
                  <a:lnTo>
                    <a:pt x="873" y="0"/>
                  </a:lnTo>
                  <a:lnTo>
                    <a:pt x="909" y="3"/>
                  </a:lnTo>
                  <a:lnTo>
                    <a:pt x="945" y="5"/>
                  </a:lnTo>
                  <a:lnTo>
                    <a:pt x="980" y="10"/>
                  </a:lnTo>
                  <a:lnTo>
                    <a:pt x="1014" y="14"/>
                  </a:lnTo>
                  <a:lnTo>
                    <a:pt x="1048" y="19"/>
                  </a:lnTo>
                  <a:lnTo>
                    <a:pt x="1080" y="25"/>
                  </a:lnTo>
                  <a:lnTo>
                    <a:pt x="1111" y="31"/>
                  </a:lnTo>
                  <a:lnTo>
                    <a:pt x="1140" y="38"/>
                  </a:lnTo>
                  <a:lnTo>
                    <a:pt x="0" y="364"/>
                  </a:lnTo>
                  <a:lnTo>
                    <a:pt x="4" y="353"/>
                  </a:lnTo>
                  <a:lnTo>
                    <a:pt x="6" y="341"/>
                  </a:lnTo>
                  <a:lnTo>
                    <a:pt x="15" y="311"/>
                  </a:lnTo>
                  <a:lnTo>
                    <a:pt x="25" y="283"/>
                  </a:lnTo>
                  <a:lnTo>
                    <a:pt x="37" y="258"/>
                  </a:lnTo>
                  <a:lnTo>
                    <a:pt x="49" y="2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33"/>
            <p:cNvSpPr>
              <a:spLocks/>
            </p:cNvSpPr>
            <p:nvPr/>
          </p:nvSpPr>
          <p:spPr bwMode="auto">
            <a:xfrm>
              <a:off x="4587876" y="1323975"/>
              <a:ext cx="492125" cy="161925"/>
            </a:xfrm>
            <a:custGeom>
              <a:avLst/>
              <a:gdLst>
                <a:gd name="T0" fmla="*/ 31 w 1242"/>
                <a:gd name="T1" fmla="*/ 286 h 410"/>
                <a:gd name="T2" fmla="*/ 1034 w 1242"/>
                <a:gd name="T3" fmla="*/ 0 h 410"/>
                <a:gd name="T4" fmla="*/ 1064 w 1242"/>
                <a:gd name="T5" fmla="*/ 4 h 410"/>
                <a:gd name="T6" fmla="*/ 1094 w 1242"/>
                <a:gd name="T7" fmla="*/ 10 h 410"/>
                <a:gd name="T8" fmla="*/ 1122 w 1242"/>
                <a:gd name="T9" fmla="*/ 16 h 410"/>
                <a:gd name="T10" fmla="*/ 1149 w 1242"/>
                <a:gd name="T11" fmla="*/ 23 h 410"/>
                <a:gd name="T12" fmla="*/ 1175 w 1242"/>
                <a:gd name="T13" fmla="*/ 29 h 410"/>
                <a:gd name="T14" fmla="*/ 1199 w 1242"/>
                <a:gd name="T15" fmla="*/ 38 h 410"/>
                <a:gd name="T16" fmla="*/ 1221 w 1242"/>
                <a:gd name="T17" fmla="*/ 45 h 410"/>
                <a:gd name="T18" fmla="*/ 1242 w 1242"/>
                <a:gd name="T19" fmla="*/ 55 h 410"/>
                <a:gd name="T20" fmla="*/ 0 w 1242"/>
                <a:gd name="T21" fmla="*/ 410 h 410"/>
                <a:gd name="T22" fmla="*/ 4 w 1242"/>
                <a:gd name="T23" fmla="*/ 388 h 410"/>
                <a:gd name="T24" fmla="*/ 8 w 1242"/>
                <a:gd name="T25" fmla="*/ 368 h 410"/>
                <a:gd name="T26" fmla="*/ 13 w 1242"/>
                <a:gd name="T27" fmla="*/ 346 h 410"/>
                <a:gd name="T28" fmla="*/ 18 w 1242"/>
                <a:gd name="T29" fmla="*/ 326 h 410"/>
                <a:gd name="T30" fmla="*/ 21 w 1242"/>
                <a:gd name="T31" fmla="*/ 316 h 410"/>
                <a:gd name="T32" fmla="*/ 24 w 1242"/>
                <a:gd name="T33" fmla="*/ 305 h 410"/>
                <a:gd name="T34" fmla="*/ 27 w 1242"/>
                <a:gd name="T35" fmla="*/ 296 h 410"/>
                <a:gd name="T36" fmla="*/ 31 w 1242"/>
                <a:gd name="T37" fmla="*/ 286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42" h="410">
                  <a:moveTo>
                    <a:pt x="31" y="286"/>
                  </a:moveTo>
                  <a:lnTo>
                    <a:pt x="1034" y="0"/>
                  </a:lnTo>
                  <a:lnTo>
                    <a:pt x="1064" y="4"/>
                  </a:lnTo>
                  <a:lnTo>
                    <a:pt x="1094" y="10"/>
                  </a:lnTo>
                  <a:lnTo>
                    <a:pt x="1122" y="16"/>
                  </a:lnTo>
                  <a:lnTo>
                    <a:pt x="1149" y="23"/>
                  </a:lnTo>
                  <a:lnTo>
                    <a:pt x="1175" y="29"/>
                  </a:lnTo>
                  <a:lnTo>
                    <a:pt x="1199" y="38"/>
                  </a:lnTo>
                  <a:lnTo>
                    <a:pt x="1221" y="45"/>
                  </a:lnTo>
                  <a:lnTo>
                    <a:pt x="1242" y="55"/>
                  </a:lnTo>
                  <a:lnTo>
                    <a:pt x="0" y="410"/>
                  </a:lnTo>
                  <a:lnTo>
                    <a:pt x="4" y="388"/>
                  </a:lnTo>
                  <a:lnTo>
                    <a:pt x="8" y="368"/>
                  </a:lnTo>
                  <a:lnTo>
                    <a:pt x="13" y="346"/>
                  </a:lnTo>
                  <a:lnTo>
                    <a:pt x="18" y="326"/>
                  </a:lnTo>
                  <a:lnTo>
                    <a:pt x="21" y="316"/>
                  </a:lnTo>
                  <a:lnTo>
                    <a:pt x="24" y="305"/>
                  </a:lnTo>
                  <a:lnTo>
                    <a:pt x="27" y="296"/>
                  </a:lnTo>
                  <a:lnTo>
                    <a:pt x="31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34"/>
            <p:cNvSpPr>
              <a:spLocks/>
            </p:cNvSpPr>
            <p:nvPr/>
          </p:nvSpPr>
          <p:spPr bwMode="auto">
            <a:xfrm>
              <a:off x="4584701" y="1333500"/>
              <a:ext cx="519113" cy="176213"/>
            </a:xfrm>
            <a:custGeom>
              <a:avLst/>
              <a:gdLst>
                <a:gd name="T0" fmla="*/ 18 w 1308"/>
                <a:gd name="T1" fmla="*/ 326 h 446"/>
                <a:gd name="T2" fmla="*/ 1158 w 1308"/>
                <a:gd name="T3" fmla="*/ 0 h 446"/>
                <a:gd name="T4" fmla="*/ 1183 w 1308"/>
                <a:gd name="T5" fmla="*/ 7 h 446"/>
                <a:gd name="T6" fmla="*/ 1206 w 1308"/>
                <a:gd name="T7" fmla="*/ 15 h 446"/>
                <a:gd name="T8" fmla="*/ 1227 w 1308"/>
                <a:gd name="T9" fmla="*/ 22 h 446"/>
                <a:gd name="T10" fmla="*/ 1247 w 1308"/>
                <a:gd name="T11" fmla="*/ 31 h 446"/>
                <a:gd name="T12" fmla="*/ 1265 w 1308"/>
                <a:gd name="T13" fmla="*/ 41 h 446"/>
                <a:gd name="T14" fmla="*/ 1281 w 1308"/>
                <a:gd name="T15" fmla="*/ 50 h 446"/>
                <a:gd name="T16" fmla="*/ 1295 w 1308"/>
                <a:gd name="T17" fmla="*/ 61 h 446"/>
                <a:gd name="T18" fmla="*/ 1308 w 1308"/>
                <a:gd name="T19" fmla="*/ 72 h 446"/>
                <a:gd name="T20" fmla="*/ 0 w 1308"/>
                <a:gd name="T21" fmla="*/ 446 h 446"/>
                <a:gd name="T22" fmla="*/ 3 w 1308"/>
                <a:gd name="T23" fmla="*/ 415 h 446"/>
                <a:gd name="T24" fmla="*/ 6 w 1308"/>
                <a:gd name="T25" fmla="*/ 385 h 446"/>
                <a:gd name="T26" fmla="*/ 12 w 1308"/>
                <a:gd name="T27" fmla="*/ 355 h 446"/>
                <a:gd name="T28" fmla="*/ 18 w 1308"/>
                <a:gd name="T29" fmla="*/ 32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8" h="446">
                  <a:moveTo>
                    <a:pt x="18" y="326"/>
                  </a:moveTo>
                  <a:lnTo>
                    <a:pt x="1158" y="0"/>
                  </a:lnTo>
                  <a:lnTo>
                    <a:pt x="1183" y="7"/>
                  </a:lnTo>
                  <a:lnTo>
                    <a:pt x="1206" y="15"/>
                  </a:lnTo>
                  <a:lnTo>
                    <a:pt x="1227" y="22"/>
                  </a:lnTo>
                  <a:lnTo>
                    <a:pt x="1247" y="31"/>
                  </a:lnTo>
                  <a:lnTo>
                    <a:pt x="1265" y="41"/>
                  </a:lnTo>
                  <a:lnTo>
                    <a:pt x="1281" y="50"/>
                  </a:lnTo>
                  <a:lnTo>
                    <a:pt x="1295" y="61"/>
                  </a:lnTo>
                  <a:lnTo>
                    <a:pt x="1308" y="72"/>
                  </a:lnTo>
                  <a:lnTo>
                    <a:pt x="0" y="446"/>
                  </a:lnTo>
                  <a:lnTo>
                    <a:pt x="3" y="415"/>
                  </a:lnTo>
                  <a:lnTo>
                    <a:pt x="6" y="385"/>
                  </a:lnTo>
                  <a:lnTo>
                    <a:pt x="12" y="355"/>
                  </a:lnTo>
                  <a:lnTo>
                    <a:pt x="18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35"/>
            <p:cNvSpPr>
              <a:spLocks/>
            </p:cNvSpPr>
            <p:nvPr/>
          </p:nvSpPr>
          <p:spPr bwMode="auto">
            <a:xfrm>
              <a:off x="4583114" y="1346200"/>
              <a:ext cx="531813" cy="185738"/>
            </a:xfrm>
            <a:custGeom>
              <a:avLst/>
              <a:gdLst>
                <a:gd name="T0" fmla="*/ 9 w 1337"/>
                <a:gd name="T1" fmla="*/ 355 h 471"/>
                <a:gd name="T2" fmla="*/ 1251 w 1337"/>
                <a:gd name="T3" fmla="*/ 0 h 471"/>
                <a:gd name="T4" fmla="*/ 1266 w 1337"/>
                <a:gd name="T5" fmla="*/ 6 h 471"/>
                <a:gd name="T6" fmla="*/ 1279 w 1337"/>
                <a:gd name="T7" fmla="*/ 15 h 471"/>
                <a:gd name="T8" fmla="*/ 1290 w 1337"/>
                <a:gd name="T9" fmla="*/ 22 h 471"/>
                <a:gd name="T10" fmla="*/ 1301 w 1337"/>
                <a:gd name="T11" fmla="*/ 31 h 471"/>
                <a:gd name="T12" fmla="*/ 1311 w 1337"/>
                <a:gd name="T13" fmla="*/ 40 h 471"/>
                <a:gd name="T14" fmla="*/ 1318 w 1337"/>
                <a:gd name="T15" fmla="*/ 49 h 471"/>
                <a:gd name="T16" fmla="*/ 1326 w 1337"/>
                <a:gd name="T17" fmla="*/ 59 h 471"/>
                <a:gd name="T18" fmla="*/ 1330 w 1337"/>
                <a:gd name="T19" fmla="*/ 69 h 471"/>
                <a:gd name="T20" fmla="*/ 1333 w 1337"/>
                <a:gd name="T21" fmla="*/ 77 h 471"/>
                <a:gd name="T22" fmla="*/ 1337 w 1337"/>
                <a:gd name="T23" fmla="*/ 89 h 471"/>
                <a:gd name="T24" fmla="*/ 0 w 1337"/>
                <a:gd name="T25" fmla="*/ 471 h 471"/>
                <a:gd name="T26" fmla="*/ 1 w 1337"/>
                <a:gd name="T27" fmla="*/ 442 h 471"/>
                <a:gd name="T28" fmla="*/ 3 w 1337"/>
                <a:gd name="T29" fmla="*/ 413 h 471"/>
                <a:gd name="T30" fmla="*/ 6 w 1337"/>
                <a:gd name="T31" fmla="*/ 383 h 471"/>
                <a:gd name="T32" fmla="*/ 9 w 1337"/>
                <a:gd name="T33" fmla="*/ 355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37" h="471">
                  <a:moveTo>
                    <a:pt x="9" y="355"/>
                  </a:moveTo>
                  <a:lnTo>
                    <a:pt x="1251" y="0"/>
                  </a:lnTo>
                  <a:lnTo>
                    <a:pt x="1266" y="6"/>
                  </a:lnTo>
                  <a:lnTo>
                    <a:pt x="1279" y="15"/>
                  </a:lnTo>
                  <a:lnTo>
                    <a:pt x="1290" y="22"/>
                  </a:lnTo>
                  <a:lnTo>
                    <a:pt x="1301" y="31"/>
                  </a:lnTo>
                  <a:lnTo>
                    <a:pt x="1311" y="40"/>
                  </a:lnTo>
                  <a:lnTo>
                    <a:pt x="1318" y="49"/>
                  </a:lnTo>
                  <a:lnTo>
                    <a:pt x="1326" y="59"/>
                  </a:lnTo>
                  <a:lnTo>
                    <a:pt x="1330" y="69"/>
                  </a:lnTo>
                  <a:lnTo>
                    <a:pt x="1333" y="77"/>
                  </a:lnTo>
                  <a:lnTo>
                    <a:pt x="1337" y="89"/>
                  </a:lnTo>
                  <a:lnTo>
                    <a:pt x="0" y="471"/>
                  </a:lnTo>
                  <a:lnTo>
                    <a:pt x="1" y="442"/>
                  </a:lnTo>
                  <a:lnTo>
                    <a:pt x="3" y="413"/>
                  </a:lnTo>
                  <a:lnTo>
                    <a:pt x="6" y="383"/>
                  </a:lnTo>
                  <a:lnTo>
                    <a:pt x="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36"/>
            <p:cNvSpPr>
              <a:spLocks/>
            </p:cNvSpPr>
            <p:nvPr/>
          </p:nvSpPr>
          <p:spPr bwMode="auto">
            <a:xfrm>
              <a:off x="4583114" y="1362075"/>
              <a:ext cx="534988" cy="193675"/>
            </a:xfrm>
            <a:custGeom>
              <a:avLst/>
              <a:gdLst>
                <a:gd name="T0" fmla="*/ 4 w 1346"/>
                <a:gd name="T1" fmla="*/ 374 h 489"/>
                <a:gd name="T2" fmla="*/ 1312 w 1346"/>
                <a:gd name="T3" fmla="*/ 0 h 489"/>
                <a:gd name="T4" fmla="*/ 1318 w 1346"/>
                <a:gd name="T5" fmla="*/ 6 h 489"/>
                <a:gd name="T6" fmla="*/ 1324 w 1346"/>
                <a:gd name="T7" fmla="*/ 14 h 489"/>
                <a:gd name="T8" fmla="*/ 1328 w 1346"/>
                <a:gd name="T9" fmla="*/ 21 h 489"/>
                <a:gd name="T10" fmla="*/ 1331 w 1346"/>
                <a:gd name="T11" fmla="*/ 29 h 489"/>
                <a:gd name="T12" fmla="*/ 1335 w 1346"/>
                <a:gd name="T13" fmla="*/ 41 h 489"/>
                <a:gd name="T14" fmla="*/ 1339 w 1346"/>
                <a:gd name="T15" fmla="*/ 58 h 489"/>
                <a:gd name="T16" fmla="*/ 1342 w 1346"/>
                <a:gd name="T17" fmla="*/ 79 h 489"/>
                <a:gd name="T18" fmla="*/ 1346 w 1346"/>
                <a:gd name="T19" fmla="*/ 104 h 489"/>
                <a:gd name="T20" fmla="*/ 1 w 1346"/>
                <a:gd name="T21" fmla="*/ 489 h 489"/>
                <a:gd name="T22" fmla="*/ 0 w 1346"/>
                <a:gd name="T23" fmla="*/ 460 h 489"/>
                <a:gd name="T24" fmla="*/ 1 w 1346"/>
                <a:gd name="T25" fmla="*/ 431 h 489"/>
                <a:gd name="T26" fmla="*/ 2 w 1346"/>
                <a:gd name="T27" fmla="*/ 402 h 489"/>
                <a:gd name="T28" fmla="*/ 4 w 1346"/>
                <a:gd name="T29" fmla="*/ 37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46" h="489">
                  <a:moveTo>
                    <a:pt x="4" y="374"/>
                  </a:moveTo>
                  <a:lnTo>
                    <a:pt x="1312" y="0"/>
                  </a:lnTo>
                  <a:lnTo>
                    <a:pt x="1318" y="6"/>
                  </a:lnTo>
                  <a:lnTo>
                    <a:pt x="1324" y="14"/>
                  </a:lnTo>
                  <a:lnTo>
                    <a:pt x="1328" y="21"/>
                  </a:lnTo>
                  <a:lnTo>
                    <a:pt x="1331" y="29"/>
                  </a:lnTo>
                  <a:lnTo>
                    <a:pt x="1335" y="41"/>
                  </a:lnTo>
                  <a:lnTo>
                    <a:pt x="1339" y="58"/>
                  </a:lnTo>
                  <a:lnTo>
                    <a:pt x="1342" y="79"/>
                  </a:lnTo>
                  <a:lnTo>
                    <a:pt x="1346" y="104"/>
                  </a:lnTo>
                  <a:lnTo>
                    <a:pt x="1" y="489"/>
                  </a:lnTo>
                  <a:lnTo>
                    <a:pt x="0" y="460"/>
                  </a:lnTo>
                  <a:lnTo>
                    <a:pt x="1" y="431"/>
                  </a:lnTo>
                  <a:lnTo>
                    <a:pt x="2" y="402"/>
                  </a:lnTo>
                  <a:lnTo>
                    <a:pt x="4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337"/>
            <p:cNvSpPr>
              <a:spLocks/>
            </p:cNvSpPr>
            <p:nvPr/>
          </p:nvSpPr>
          <p:spPr bwMode="auto">
            <a:xfrm>
              <a:off x="4583114" y="1381125"/>
              <a:ext cx="536575" cy="196850"/>
            </a:xfrm>
            <a:custGeom>
              <a:avLst/>
              <a:gdLst>
                <a:gd name="T0" fmla="*/ 1 w 1353"/>
                <a:gd name="T1" fmla="*/ 382 h 496"/>
                <a:gd name="T2" fmla="*/ 1338 w 1353"/>
                <a:gd name="T3" fmla="*/ 0 h 496"/>
                <a:gd name="T4" fmla="*/ 1341 w 1353"/>
                <a:gd name="T5" fmla="*/ 23 h 496"/>
                <a:gd name="T6" fmla="*/ 1345 w 1353"/>
                <a:gd name="T7" fmla="*/ 49 h 496"/>
                <a:gd name="T8" fmla="*/ 1348 w 1353"/>
                <a:gd name="T9" fmla="*/ 79 h 496"/>
                <a:gd name="T10" fmla="*/ 1353 w 1353"/>
                <a:gd name="T11" fmla="*/ 110 h 496"/>
                <a:gd name="T12" fmla="*/ 4 w 1353"/>
                <a:gd name="T13" fmla="*/ 496 h 496"/>
                <a:gd name="T14" fmla="*/ 2 w 1353"/>
                <a:gd name="T15" fmla="*/ 468 h 496"/>
                <a:gd name="T16" fmla="*/ 1 w 1353"/>
                <a:gd name="T17" fmla="*/ 439 h 496"/>
                <a:gd name="T18" fmla="*/ 0 w 1353"/>
                <a:gd name="T19" fmla="*/ 411 h 496"/>
                <a:gd name="T20" fmla="*/ 1 w 1353"/>
                <a:gd name="T21" fmla="*/ 382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3" h="496">
                  <a:moveTo>
                    <a:pt x="1" y="382"/>
                  </a:moveTo>
                  <a:lnTo>
                    <a:pt x="1338" y="0"/>
                  </a:lnTo>
                  <a:lnTo>
                    <a:pt x="1341" y="23"/>
                  </a:lnTo>
                  <a:lnTo>
                    <a:pt x="1345" y="49"/>
                  </a:lnTo>
                  <a:lnTo>
                    <a:pt x="1348" y="79"/>
                  </a:lnTo>
                  <a:lnTo>
                    <a:pt x="1353" y="110"/>
                  </a:lnTo>
                  <a:lnTo>
                    <a:pt x="4" y="496"/>
                  </a:lnTo>
                  <a:lnTo>
                    <a:pt x="2" y="468"/>
                  </a:lnTo>
                  <a:lnTo>
                    <a:pt x="1" y="439"/>
                  </a:lnTo>
                  <a:lnTo>
                    <a:pt x="0" y="411"/>
                  </a:lnTo>
                  <a:lnTo>
                    <a:pt x="1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338"/>
            <p:cNvSpPr>
              <a:spLocks/>
            </p:cNvSpPr>
            <p:nvPr/>
          </p:nvSpPr>
          <p:spPr bwMode="auto">
            <a:xfrm>
              <a:off x="4583114" y="1403350"/>
              <a:ext cx="539750" cy="196850"/>
            </a:xfrm>
            <a:custGeom>
              <a:avLst/>
              <a:gdLst>
                <a:gd name="T0" fmla="*/ 0 w 1359"/>
                <a:gd name="T1" fmla="*/ 385 h 497"/>
                <a:gd name="T2" fmla="*/ 1345 w 1359"/>
                <a:gd name="T3" fmla="*/ 0 h 497"/>
                <a:gd name="T4" fmla="*/ 1348 w 1359"/>
                <a:gd name="T5" fmla="*/ 27 h 497"/>
                <a:gd name="T6" fmla="*/ 1352 w 1359"/>
                <a:gd name="T7" fmla="*/ 54 h 497"/>
                <a:gd name="T8" fmla="*/ 1355 w 1359"/>
                <a:gd name="T9" fmla="*/ 82 h 497"/>
                <a:gd name="T10" fmla="*/ 1359 w 1359"/>
                <a:gd name="T11" fmla="*/ 111 h 497"/>
                <a:gd name="T12" fmla="*/ 8 w 1359"/>
                <a:gd name="T13" fmla="*/ 497 h 497"/>
                <a:gd name="T14" fmla="*/ 5 w 1359"/>
                <a:gd name="T15" fmla="*/ 469 h 497"/>
                <a:gd name="T16" fmla="*/ 3 w 1359"/>
                <a:gd name="T17" fmla="*/ 441 h 497"/>
                <a:gd name="T18" fmla="*/ 1 w 1359"/>
                <a:gd name="T19" fmla="*/ 413 h 497"/>
                <a:gd name="T20" fmla="*/ 0 w 1359"/>
                <a:gd name="T21" fmla="*/ 385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9" h="497">
                  <a:moveTo>
                    <a:pt x="0" y="385"/>
                  </a:moveTo>
                  <a:lnTo>
                    <a:pt x="1345" y="0"/>
                  </a:lnTo>
                  <a:lnTo>
                    <a:pt x="1348" y="27"/>
                  </a:lnTo>
                  <a:lnTo>
                    <a:pt x="1352" y="54"/>
                  </a:lnTo>
                  <a:lnTo>
                    <a:pt x="1355" y="82"/>
                  </a:lnTo>
                  <a:lnTo>
                    <a:pt x="1359" y="111"/>
                  </a:lnTo>
                  <a:lnTo>
                    <a:pt x="8" y="497"/>
                  </a:lnTo>
                  <a:lnTo>
                    <a:pt x="5" y="469"/>
                  </a:lnTo>
                  <a:lnTo>
                    <a:pt x="3" y="441"/>
                  </a:lnTo>
                  <a:lnTo>
                    <a:pt x="1" y="413"/>
                  </a:lnTo>
                  <a:lnTo>
                    <a:pt x="0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39"/>
            <p:cNvSpPr>
              <a:spLocks/>
            </p:cNvSpPr>
            <p:nvPr/>
          </p:nvSpPr>
          <p:spPr bwMode="auto">
            <a:xfrm>
              <a:off x="4584701" y="1423988"/>
              <a:ext cx="541338" cy="198438"/>
            </a:xfrm>
            <a:custGeom>
              <a:avLst/>
              <a:gdLst>
                <a:gd name="T0" fmla="*/ 0 w 1365"/>
                <a:gd name="T1" fmla="*/ 386 h 497"/>
                <a:gd name="T2" fmla="*/ 1349 w 1365"/>
                <a:gd name="T3" fmla="*/ 0 h 497"/>
                <a:gd name="T4" fmla="*/ 1353 w 1365"/>
                <a:gd name="T5" fmla="*/ 29 h 497"/>
                <a:gd name="T6" fmla="*/ 1356 w 1365"/>
                <a:gd name="T7" fmla="*/ 57 h 497"/>
                <a:gd name="T8" fmla="*/ 1361 w 1365"/>
                <a:gd name="T9" fmla="*/ 85 h 497"/>
                <a:gd name="T10" fmla="*/ 1365 w 1365"/>
                <a:gd name="T11" fmla="*/ 110 h 497"/>
                <a:gd name="T12" fmla="*/ 13 w 1365"/>
                <a:gd name="T13" fmla="*/ 497 h 497"/>
                <a:gd name="T14" fmla="*/ 9 w 1365"/>
                <a:gd name="T15" fmla="*/ 469 h 497"/>
                <a:gd name="T16" fmla="*/ 5 w 1365"/>
                <a:gd name="T17" fmla="*/ 442 h 497"/>
                <a:gd name="T18" fmla="*/ 2 w 1365"/>
                <a:gd name="T19" fmla="*/ 414 h 497"/>
                <a:gd name="T20" fmla="*/ 0 w 1365"/>
                <a:gd name="T21" fmla="*/ 386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5" h="497">
                  <a:moveTo>
                    <a:pt x="0" y="386"/>
                  </a:moveTo>
                  <a:lnTo>
                    <a:pt x="1349" y="0"/>
                  </a:lnTo>
                  <a:lnTo>
                    <a:pt x="1353" y="29"/>
                  </a:lnTo>
                  <a:lnTo>
                    <a:pt x="1356" y="57"/>
                  </a:lnTo>
                  <a:lnTo>
                    <a:pt x="1361" y="85"/>
                  </a:lnTo>
                  <a:lnTo>
                    <a:pt x="1365" y="110"/>
                  </a:lnTo>
                  <a:lnTo>
                    <a:pt x="13" y="497"/>
                  </a:lnTo>
                  <a:lnTo>
                    <a:pt x="9" y="469"/>
                  </a:lnTo>
                  <a:lnTo>
                    <a:pt x="5" y="442"/>
                  </a:lnTo>
                  <a:lnTo>
                    <a:pt x="2" y="41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40"/>
            <p:cNvSpPr>
              <a:spLocks/>
            </p:cNvSpPr>
            <p:nvPr/>
          </p:nvSpPr>
          <p:spPr bwMode="auto">
            <a:xfrm>
              <a:off x="4587876" y="1446213"/>
              <a:ext cx="542925" cy="196850"/>
            </a:xfrm>
            <a:custGeom>
              <a:avLst/>
              <a:gdLst>
                <a:gd name="T0" fmla="*/ 0 w 1372"/>
                <a:gd name="T1" fmla="*/ 386 h 495"/>
                <a:gd name="T2" fmla="*/ 1351 w 1372"/>
                <a:gd name="T3" fmla="*/ 0 h 495"/>
                <a:gd name="T4" fmla="*/ 1354 w 1372"/>
                <a:gd name="T5" fmla="*/ 22 h 495"/>
                <a:gd name="T6" fmla="*/ 1358 w 1372"/>
                <a:gd name="T7" fmla="*/ 44 h 495"/>
                <a:gd name="T8" fmla="*/ 1362 w 1372"/>
                <a:gd name="T9" fmla="*/ 63 h 495"/>
                <a:gd name="T10" fmla="*/ 1366 w 1372"/>
                <a:gd name="T11" fmla="*/ 82 h 495"/>
                <a:gd name="T12" fmla="*/ 1369 w 1372"/>
                <a:gd name="T13" fmla="*/ 94 h 495"/>
                <a:gd name="T14" fmla="*/ 1372 w 1372"/>
                <a:gd name="T15" fmla="*/ 107 h 495"/>
                <a:gd name="T16" fmla="*/ 18 w 1372"/>
                <a:gd name="T17" fmla="*/ 495 h 495"/>
                <a:gd name="T18" fmla="*/ 12 w 1372"/>
                <a:gd name="T19" fmla="*/ 468 h 495"/>
                <a:gd name="T20" fmla="*/ 8 w 1372"/>
                <a:gd name="T21" fmla="*/ 441 h 495"/>
                <a:gd name="T22" fmla="*/ 4 w 1372"/>
                <a:gd name="T23" fmla="*/ 414 h 495"/>
                <a:gd name="T24" fmla="*/ 0 w 1372"/>
                <a:gd name="T25" fmla="*/ 386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2" h="495">
                  <a:moveTo>
                    <a:pt x="0" y="386"/>
                  </a:moveTo>
                  <a:lnTo>
                    <a:pt x="1351" y="0"/>
                  </a:lnTo>
                  <a:lnTo>
                    <a:pt x="1354" y="22"/>
                  </a:lnTo>
                  <a:lnTo>
                    <a:pt x="1358" y="44"/>
                  </a:lnTo>
                  <a:lnTo>
                    <a:pt x="1362" y="63"/>
                  </a:lnTo>
                  <a:lnTo>
                    <a:pt x="1366" y="82"/>
                  </a:lnTo>
                  <a:lnTo>
                    <a:pt x="1369" y="94"/>
                  </a:lnTo>
                  <a:lnTo>
                    <a:pt x="1372" y="107"/>
                  </a:lnTo>
                  <a:lnTo>
                    <a:pt x="18" y="495"/>
                  </a:lnTo>
                  <a:lnTo>
                    <a:pt x="12" y="468"/>
                  </a:lnTo>
                  <a:lnTo>
                    <a:pt x="8" y="441"/>
                  </a:lnTo>
                  <a:lnTo>
                    <a:pt x="4" y="41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41"/>
            <p:cNvSpPr>
              <a:spLocks/>
            </p:cNvSpPr>
            <p:nvPr/>
          </p:nvSpPr>
          <p:spPr bwMode="auto">
            <a:xfrm>
              <a:off x="4589464" y="1468438"/>
              <a:ext cx="544513" cy="196850"/>
            </a:xfrm>
            <a:custGeom>
              <a:avLst/>
              <a:gdLst>
                <a:gd name="T0" fmla="*/ 0 w 1371"/>
                <a:gd name="T1" fmla="*/ 387 h 494"/>
                <a:gd name="T2" fmla="*/ 1352 w 1371"/>
                <a:gd name="T3" fmla="*/ 0 h 494"/>
                <a:gd name="T4" fmla="*/ 1355 w 1371"/>
                <a:gd name="T5" fmla="*/ 15 h 494"/>
                <a:gd name="T6" fmla="*/ 1358 w 1371"/>
                <a:gd name="T7" fmla="*/ 28 h 494"/>
                <a:gd name="T8" fmla="*/ 1364 w 1371"/>
                <a:gd name="T9" fmla="*/ 51 h 494"/>
                <a:gd name="T10" fmla="*/ 1368 w 1371"/>
                <a:gd name="T11" fmla="*/ 73 h 494"/>
                <a:gd name="T12" fmla="*/ 1370 w 1371"/>
                <a:gd name="T13" fmla="*/ 92 h 494"/>
                <a:gd name="T14" fmla="*/ 1371 w 1371"/>
                <a:gd name="T15" fmla="*/ 108 h 494"/>
                <a:gd name="T16" fmla="*/ 21 w 1371"/>
                <a:gd name="T17" fmla="*/ 494 h 494"/>
                <a:gd name="T18" fmla="*/ 20 w 1371"/>
                <a:gd name="T19" fmla="*/ 490 h 494"/>
                <a:gd name="T20" fmla="*/ 19 w 1371"/>
                <a:gd name="T21" fmla="*/ 485 h 494"/>
                <a:gd name="T22" fmla="*/ 14 w 1371"/>
                <a:gd name="T23" fmla="*/ 461 h 494"/>
                <a:gd name="T24" fmla="*/ 9 w 1371"/>
                <a:gd name="T25" fmla="*/ 436 h 494"/>
                <a:gd name="T26" fmla="*/ 4 w 1371"/>
                <a:gd name="T27" fmla="*/ 411 h 494"/>
                <a:gd name="T28" fmla="*/ 0 w 1371"/>
                <a:gd name="T29" fmla="*/ 387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1" h="494">
                  <a:moveTo>
                    <a:pt x="0" y="387"/>
                  </a:moveTo>
                  <a:lnTo>
                    <a:pt x="1352" y="0"/>
                  </a:lnTo>
                  <a:lnTo>
                    <a:pt x="1355" y="15"/>
                  </a:lnTo>
                  <a:lnTo>
                    <a:pt x="1358" y="28"/>
                  </a:lnTo>
                  <a:lnTo>
                    <a:pt x="1364" y="51"/>
                  </a:lnTo>
                  <a:lnTo>
                    <a:pt x="1368" y="73"/>
                  </a:lnTo>
                  <a:lnTo>
                    <a:pt x="1370" y="92"/>
                  </a:lnTo>
                  <a:lnTo>
                    <a:pt x="1371" y="108"/>
                  </a:lnTo>
                  <a:lnTo>
                    <a:pt x="21" y="494"/>
                  </a:lnTo>
                  <a:lnTo>
                    <a:pt x="20" y="490"/>
                  </a:lnTo>
                  <a:lnTo>
                    <a:pt x="19" y="485"/>
                  </a:lnTo>
                  <a:lnTo>
                    <a:pt x="14" y="461"/>
                  </a:lnTo>
                  <a:lnTo>
                    <a:pt x="9" y="436"/>
                  </a:lnTo>
                  <a:lnTo>
                    <a:pt x="4" y="411"/>
                  </a:lnTo>
                  <a:lnTo>
                    <a:pt x="0" y="3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42"/>
            <p:cNvSpPr>
              <a:spLocks/>
            </p:cNvSpPr>
            <p:nvPr/>
          </p:nvSpPr>
          <p:spPr bwMode="auto">
            <a:xfrm>
              <a:off x="4594226" y="1489075"/>
              <a:ext cx="539750" cy="196850"/>
            </a:xfrm>
            <a:custGeom>
              <a:avLst/>
              <a:gdLst>
                <a:gd name="T0" fmla="*/ 0 w 1361"/>
                <a:gd name="T1" fmla="*/ 388 h 494"/>
                <a:gd name="T2" fmla="*/ 1354 w 1361"/>
                <a:gd name="T3" fmla="*/ 0 h 494"/>
                <a:gd name="T4" fmla="*/ 1358 w 1361"/>
                <a:gd name="T5" fmla="*/ 20 h 494"/>
                <a:gd name="T6" fmla="*/ 1360 w 1361"/>
                <a:gd name="T7" fmla="*/ 36 h 494"/>
                <a:gd name="T8" fmla="*/ 1361 w 1361"/>
                <a:gd name="T9" fmla="*/ 52 h 494"/>
                <a:gd name="T10" fmla="*/ 1361 w 1361"/>
                <a:gd name="T11" fmla="*/ 66 h 494"/>
                <a:gd name="T12" fmla="*/ 1361 w 1361"/>
                <a:gd name="T13" fmla="*/ 91 h 494"/>
                <a:gd name="T14" fmla="*/ 1359 w 1361"/>
                <a:gd name="T15" fmla="*/ 113 h 494"/>
                <a:gd name="T16" fmla="*/ 28 w 1361"/>
                <a:gd name="T17" fmla="*/ 494 h 494"/>
                <a:gd name="T18" fmla="*/ 22 w 1361"/>
                <a:gd name="T19" fmla="*/ 479 h 494"/>
                <a:gd name="T20" fmla="*/ 18 w 1361"/>
                <a:gd name="T21" fmla="*/ 464 h 494"/>
                <a:gd name="T22" fmla="*/ 14 w 1361"/>
                <a:gd name="T23" fmla="*/ 448 h 494"/>
                <a:gd name="T24" fmla="*/ 9 w 1361"/>
                <a:gd name="T25" fmla="*/ 432 h 494"/>
                <a:gd name="T26" fmla="*/ 7 w 1361"/>
                <a:gd name="T27" fmla="*/ 421 h 494"/>
                <a:gd name="T28" fmla="*/ 4 w 1361"/>
                <a:gd name="T29" fmla="*/ 410 h 494"/>
                <a:gd name="T30" fmla="*/ 2 w 1361"/>
                <a:gd name="T31" fmla="*/ 399 h 494"/>
                <a:gd name="T32" fmla="*/ 0 w 1361"/>
                <a:gd name="T33" fmla="*/ 388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1" h="494">
                  <a:moveTo>
                    <a:pt x="0" y="388"/>
                  </a:moveTo>
                  <a:lnTo>
                    <a:pt x="1354" y="0"/>
                  </a:lnTo>
                  <a:lnTo>
                    <a:pt x="1358" y="20"/>
                  </a:lnTo>
                  <a:lnTo>
                    <a:pt x="1360" y="36"/>
                  </a:lnTo>
                  <a:lnTo>
                    <a:pt x="1361" y="52"/>
                  </a:lnTo>
                  <a:lnTo>
                    <a:pt x="1361" y="66"/>
                  </a:lnTo>
                  <a:lnTo>
                    <a:pt x="1361" y="91"/>
                  </a:lnTo>
                  <a:lnTo>
                    <a:pt x="1359" y="113"/>
                  </a:lnTo>
                  <a:lnTo>
                    <a:pt x="28" y="494"/>
                  </a:lnTo>
                  <a:lnTo>
                    <a:pt x="22" y="479"/>
                  </a:lnTo>
                  <a:lnTo>
                    <a:pt x="18" y="464"/>
                  </a:lnTo>
                  <a:lnTo>
                    <a:pt x="14" y="448"/>
                  </a:lnTo>
                  <a:lnTo>
                    <a:pt x="9" y="432"/>
                  </a:lnTo>
                  <a:lnTo>
                    <a:pt x="7" y="421"/>
                  </a:lnTo>
                  <a:lnTo>
                    <a:pt x="4" y="410"/>
                  </a:lnTo>
                  <a:lnTo>
                    <a:pt x="2" y="399"/>
                  </a:lnTo>
                  <a:lnTo>
                    <a:pt x="0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43"/>
            <p:cNvSpPr>
              <a:spLocks/>
            </p:cNvSpPr>
            <p:nvPr/>
          </p:nvSpPr>
          <p:spPr bwMode="auto">
            <a:xfrm>
              <a:off x="4598989" y="1511300"/>
              <a:ext cx="534988" cy="195263"/>
            </a:xfrm>
            <a:custGeom>
              <a:avLst/>
              <a:gdLst>
                <a:gd name="T0" fmla="*/ 0 w 1350"/>
                <a:gd name="T1" fmla="*/ 386 h 491"/>
                <a:gd name="T2" fmla="*/ 1350 w 1350"/>
                <a:gd name="T3" fmla="*/ 0 h 491"/>
                <a:gd name="T4" fmla="*/ 1350 w 1350"/>
                <a:gd name="T5" fmla="*/ 16 h 491"/>
                <a:gd name="T6" fmla="*/ 1350 w 1350"/>
                <a:gd name="T7" fmla="*/ 31 h 491"/>
                <a:gd name="T8" fmla="*/ 1349 w 1350"/>
                <a:gd name="T9" fmla="*/ 45 h 491"/>
                <a:gd name="T10" fmla="*/ 1347 w 1350"/>
                <a:gd name="T11" fmla="*/ 59 h 491"/>
                <a:gd name="T12" fmla="*/ 1345 w 1350"/>
                <a:gd name="T13" fmla="*/ 86 h 491"/>
                <a:gd name="T14" fmla="*/ 1343 w 1350"/>
                <a:gd name="T15" fmla="*/ 117 h 491"/>
                <a:gd name="T16" fmla="*/ 35 w 1350"/>
                <a:gd name="T17" fmla="*/ 491 h 491"/>
                <a:gd name="T18" fmla="*/ 26 w 1350"/>
                <a:gd name="T19" fmla="*/ 467 h 491"/>
                <a:gd name="T20" fmla="*/ 17 w 1350"/>
                <a:gd name="T21" fmla="*/ 441 h 491"/>
                <a:gd name="T22" fmla="*/ 9 w 1350"/>
                <a:gd name="T23" fmla="*/ 414 h 491"/>
                <a:gd name="T24" fmla="*/ 0 w 1350"/>
                <a:gd name="T25" fmla="*/ 386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0" h="491">
                  <a:moveTo>
                    <a:pt x="0" y="386"/>
                  </a:moveTo>
                  <a:lnTo>
                    <a:pt x="1350" y="0"/>
                  </a:lnTo>
                  <a:lnTo>
                    <a:pt x="1350" y="16"/>
                  </a:lnTo>
                  <a:lnTo>
                    <a:pt x="1350" y="31"/>
                  </a:lnTo>
                  <a:lnTo>
                    <a:pt x="1349" y="45"/>
                  </a:lnTo>
                  <a:lnTo>
                    <a:pt x="1347" y="59"/>
                  </a:lnTo>
                  <a:lnTo>
                    <a:pt x="1345" y="86"/>
                  </a:lnTo>
                  <a:lnTo>
                    <a:pt x="1343" y="117"/>
                  </a:lnTo>
                  <a:lnTo>
                    <a:pt x="35" y="491"/>
                  </a:lnTo>
                  <a:lnTo>
                    <a:pt x="26" y="467"/>
                  </a:lnTo>
                  <a:lnTo>
                    <a:pt x="17" y="441"/>
                  </a:lnTo>
                  <a:lnTo>
                    <a:pt x="9" y="414"/>
                  </a:lnTo>
                  <a:lnTo>
                    <a:pt x="0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344"/>
            <p:cNvSpPr>
              <a:spLocks/>
            </p:cNvSpPr>
            <p:nvPr/>
          </p:nvSpPr>
          <p:spPr bwMode="auto">
            <a:xfrm>
              <a:off x="4605339" y="1535113"/>
              <a:ext cx="528638" cy="190500"/>
            </a:xfrm>
            <a:custGeom>
              <a:avLst/>
              <a:gdLst>
                <a:gd name="T0" fmla="*/ 0 w 1331"/>
                <a:gd name="T1" fmla="*/ 381 h 483"/>
                <a:gd name="T2" fmla="*/ 1331 w 1331"/>
                <a:gd name="T3" fmla="*/ 0 h 483"/>
                <a:gd name="T4" fmla="*/ 1328 w 1331"/>
                <a:gd name="T5" fmla="*/ 21 h 483"/>
                <a:gd name="T6" fmla="*/ 1327 w 1331"/>
                <a:gd name="T7" fmla="*/ 42 h 483"/>
                <a:gd name="T8" fmla="*/ 1326 w 1331"/>
                <a:gd name="T9" fmla="*/ 54 h 483"/>
                <a:gd name="T10" fmla="*/ 1327 w 1331"/>
                <a:gd name="T11" fmla="*/ 67 h 483"/>
                <a:gd name="T12" fmla="*/ 1327 w 1331"/>
                <a:gd name="T13" fmla="*/ 80 h 483"/>
                <a:gd name="T14" fmla="*/ 1328 w 1331"/>
                <a:gd name="T15" fmla="*/ 95 h 483"/>
                <a:gd name="T16" fmla="*/ 1330 w 1331"/>
                <a:gd name="T17" fmla="*/ 105 h 483"/>
                <a:gd name="T18" fmla="*/ 1331 w 1331"/>
                <a:gd name="T19" fmla="*/ 114 h 483"/>
                <a:gd name="T20" fmla="*/ 40 w 1331"/>
                <a:gd name="T21" fmla="*/ 483 h 483"/>
                <a:gd name="T22" fmla="*/ 30 w 1331"/>
                <a:gd name="T23" fmla="*/ 461 h 483"/>
                <a:gd name="T24" fmla="*/ 19 w 1331"/>
                <a:gd name="T25" fmla="*/ 435 h 483"/>
                <a:gd name="T26" fmla="*/ 9 w 1331"/>
                <a:gd name="T27" fmla="*/ 409 h 483"/>
                <a:gd name="T28" fmla="*/ 0 w 1331"/>
                <a:gd name="T29" fmla="*/ 381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1" h="483">
                  <a:moveTo>
                    <a:pt x="0" y="381"/>
                  </a:moveTo>
                  <a:lnTo>
                    <a:pt x="1331" y="0"/>
                  </a:lnTo>
                  <a:lnTo>
                    <a:pt x="1328" y="21"/>
                  </a:lnTo>
                  <a:lnTo>
                    <a:pt x="1327" y="42"/>
                  </a:lnTo>
                  <a:lnTo>
                    <a:pt x="1326" y="54"/>
                  </a:lnTo>
                  <a:lnTo>
                    <a:pt x="1327" y="67"/>
                  </a:lnTo>
                  <a:lnTo>
                    <a:pt x="1327" y="80"/>
                  </a:lnTo>
                  <a:lnTo>
                    <a:pt x="1328" y="95"/>
                  </a:lnTo>
                  <a:lnTo>
                    <a:pt x="1330" y="105"/>
                  </a:lnTo>
                  <a:lnTo>
                    <a:pt x="1331" y="114"/>
                  </a:lnTo>
                  <a:lnTo>
                    <a:pt x="40" y="483"/>
                  </a:lnTo>
                  <a:lnTo>
                    <a:pt x="30" y="461"/>
                  </a:lnTo>
                  <a:lnTo>
                    <a:pt x="19" y="435"/>
                  </a:lnTo>
                  <a:lnTo>
                    <a:pt x="9" y="409"/>
                  </a:lnTo>
                  <a:lnTo>
                    <a:pt x="0" y="3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45"/>
            <p:cNvSpPr>
              <a:spLocks/>
            </p:cNvSpPr>
            <p:nvPr/>
          </p:nvSpPr>
          <p:spPr bwMode="auto">
            <a:xfrm>
              <a:off x="4611689" y="1557338"/>
              <a:ext cx="528638" cy="188913"/>
            </a:xfrm>
            <a:custGeom>
              <a:avLst/>
              <a:gdLst>
                <a:gd name="T0" fmla="*/ 0 w 1331"/>
                <a:gd name="T1" fmla="*/ 374 h 474"/>
                <a:gd name="T2" fmla="*/ 1308 w 1331"/>
                <a:gd name="T3" fmla="*/ 0 h 474"/>
                <a:gd name="T4" fmla="*/ 1309 w 1331"/>
                <a:gd name="T5" fmla="*/ 8 h 474"/>
                <a:gd name="T6" fmla="*/ 1309 w 1331"/>
                <a:gd name="T7" fmla="*/ 17 h 474"/>
                <a:gd name="T8" fmla="*/ 1310 w 1331"/>
                <a:gd name="T9" fmla="*/ 26 h 474"/>
                <a:gd name="T10" fmla="*/ 1310 w 1331"/>
                <a:gd name="T11" fmla="*/ 36 h 474"/>
                <a:gd name="T12" fmla="*/ 1313 w 1331"/>
                <a:gd name="T13" fmla="*/ 55 h 474"/>
                <a:gd name="T14" fmla="*/ 1317 w 1331"/>
                <a:gd name="T15" fmla="*/ 74 h 474"/>
                <a:gd name="T16" fmla="*/ 1324 w 1331"/>
                <a:gd name="T17" fmla="*/ 91 h 474"/>
                <a:gd name="T18" fmla="*/ 1331 w 1331"/>
                <a:gd name="T19" fmla="*/ 108 h 474"/>
                <a:gd name="T20" fmla="*/ 48 w 1331"/>
                <a:gd name="T21" fmla="*/ 474 h 474"/>
                <a:gd name="T22" fmla="*/ 36 w 1331"/>
                <a:gd name="T23" fmla="*/ 451 h 474"/>
                <a:gd name="T24" fmla="*/ 24 w 1331"/>
                <a:gd name="T25" fmla="*/ 427 h 474"/>
                <a:gd name="T26" fmla="*/ 12 w 1331"/>
                <a:gd name="T27" fmla="*/ 402 h 474"/>
                <a:gd name="T28" fmla="*/ 0 w 1331"/>
                <a:gd name="T29" fmla="*/ 374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1" h="474">
                  <a:moveTo>
                    <a:pt x="0" y="374"/>
                  </a:moveTo>
                  <a:lnTo>
                    <a:pt x="1308" y="0"/>
                  </a:lnTo>
                  <a:lnTo>
                    <a:pt x="1309" y="8"/>
                  </a:lnTo>
                  <a:lnTo>
                    <a:pt x="1309" y="17"/>
                  </a:lnTo>
                  <a:lnTo>
                    <a:pt x="1310" y="26"/>
                  </a:lnTo>
                  <a:lnTo>
                    <a:pt x="1310" y="36"/>
                  </a:lnTo>
                  <a:lnTo>
                    <a:pt x="1313" y="55"/>
                  </a:lnTo>
                  <a:lnTo>
                    <a:pt x="1317" y="74"/>
                  </a:lnTo>
                  <a:lnTo>
                    <a:pt x="1324" y="91"/>
                  </a:lnTo>
                  <a:lnTo>
                    <a:pt x="1331" y="108"/>
                  </a:lnTo>
                  <a:lnTo>
                    <a:pt x="48" y="474"/>
                  </a:lnTo>
                  <a:lnTo>
                    <a:pt x="36" y="451"/>
                  </a:lnTo>
                  <a:lnTo>
                    <a:pt x="24" y="427"/>
                  </a:lnTo>
                  <a:lnTo>
                    <a:pt x="12" y="402"/>
                  </a:lnTo>
                  <a:lnTo>
                    <a:pt x="0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46"/>
            <p:cNvSpPr>
              <a:spLocks/>
            </p:cNvSpPr>
            <p:nvPr/>
          </p:nvSpPr>
          <p:spPr bwMode="auto">
            <a:xfrm>
              <a:off x="4621214" y="1579563"/>
              <a:ext cx="530225" cy="185738"/>
            </a:xfrm>
            <a:custGeom>
              <a:avLst/>
              <a:gdLst>
                <a:gd name="T0" fmla="*/ 0 w 1336"/>
                <a:gd name="T1" fmla="*/ 369 h 468"/>
                <a:gd name="T2" fmla="*/ 1291 w 1336"/>
                <a:gd name="T3" fmla="*/ 0 h 468"/>
                <a:gd name="T4" fmla="*/ 1294 w 1336"/>
                <a:gd name="T5" fmla="*/ 14 h 468"/>
                <a:gd name="T6" fmla="*/ 1299 w 1336"/>
                <a:gd name="T7" fmla="*/ 28 h 468"/>
                <a:gd name="T8" fmla="*/ 1304 w 1336"/>
                <a:gd name="T9" fmla="*/ 41 h 468"/>
                <a:gd name="T10" fmla="*/ 1309 w 1336"/>
                <a:gd name="T11" fmla="*/ 54 h 468"/>
                <a:gd name="T12" fmla="*/ 1322 w 1336"/>
                <a:gd name="T13" fmla="*/ 79 h 468"/>
                <a:gd name="T14" fmla="*/ 1336 w 1336"/>
                <a:gd name="T15" fmla="*/ 101 h 468"/>
                <a:gd name="T16" fmla="*/ 55 w 1336"/>
                <a:gd name="T17" fmla="*/ 468 h 468"/>
                <a:gd name="T18" fmla="*/ 41 w 1336"/>
                <a:gd name="T19" fmla="*/ 446 h 468"/>
                <a:gd name="T20" fmla="*/ 28 w 1336"/>
                <a:gd name="T21" fmla="*/ 422 h 468"/>
                <a:gd name="T22" fmla="*/ 14 w 1336"/>
                <a:gd name="T23" fmla="*/ 396 h 468"/>
                <a:gd name="T24" fmla="*/ 0 w 1336"/>
                <a:gd name="T25" fmla="*/ 369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6" h="468">
                  <a:moveTo>
                    <a:pt x="0" y="369"/>
                  </a:moveTo>
                  <a:lnTo>
                    <a:pt x="1291" y="0"/>
                  </a:lnTo>
                  <a:lnTo>
                    <a:pt x="1294" y="14"/>
                  </a:lnTo>
                  <a:lnTo>
                    <a:pt x="1299" y="28"/>
                  </a:lnTo>
                  <a:lnTo>
                    <a:pt x="1304" y="41"/>
                  </a:lnTo>
                  <a:lnTo>
                    <a:pt x="1309" y="54"/>
                  </a:lnTo>
                  <a:lnTo>
                    <a:pt x="1322" y="79"/>
                  </a:lnTo>
                  <a:lnTo>
                    <a:pt x="1336" y="101"/>
                  </a:lnTo>
                  <a:lnTo>
                    <a:pt x="55" y="468"/>
                  </a:lnTo>
                  <a:lnTo>
                    <a:pt x="41" y="446"/>
                  </a:lnTo>
                  <a:lnTo>
                    <a:pt x="28" y="422"/>
                  </a:lnTo>
                  <a:lnTo>
                    <a:pt x="14" y="396"/>
                  </a:lnTo>
                  <a:lnTo>
                    <a:pt x="0" y="3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47"/>
            <p:cNvSpPr>
              <a:spLocks/>
            </p:cNvSpPr>
            <p:nvPr/>
          </p:nvSpPr>
          <p:spPr bwMode="auto">
            <a:xfrm>
              <a:off x="4632326" y="1600200"/>
              <a:ext cx="533400" cy="184150"/>
            </a:xfrm>
            <a:custGeom>
              <a:avLst/>
              <a:gdLst>
                <a:gd name="T0" fmla="*/ 0 w 1345"/>
                <a:gd name="T1" fmla="*/ 366 h 465"/>
                <a:gd name="T2" fmla="*/ 1283 w 1345"/>
                <a:gd name="T3" fmla="*/ 0 h 465"/>
                <a:gd name="T4" fmla="*/ 1289 w 1345"/>
                <a:gd name="T5" fmla="*/ 13 h 465"/>
                <a:gd name="T6" fmla="*/ 1296 w 1345"/>
                <a:gd name="T7" fmla="*/ 25 h 465"/>
                <a:gd name="T8" fmla="*/ 1304 w 1345"/>
                <a:gd name="T9" fmla="*/ 38 h 465"/>
                <a:gd name="T10" fmla="*/ 1311 w 1345"/>
                <a:gd name="T11" fmla="*/ 49 h 465"/>
                <a:gd name="T12" fmla="*/ 1327 w 1345"/>
                <a:gd name="T13" fmla="*/ 73 h 465"/>
                <a:gd name="T14" fmla="*/ 1345 w 1345"/>
                <a:gd name="T15" fmla="*/ 97 h 465"/>
                <a:gd name="T16" fmla="*/ 57 w 1345"/>
                <a:gd name="T17" fmla="*/ 465 h 465"/>
                <a:gd name="T18" fmla="*/ 44 w 1345"/>
                <a:gd name="T19" fmla="*/ 441 h 465"/>
                <a:gd name="T20" fmla="*/ 30 w 1345"/>
                <a:gd name="T21" fmla="*/ 417 h 465"/>
                <a:gd name="T22" fmla="*/ 16 w 1345"/>
                <a:gd name="T23" fmla="*/ 393 h 465"/>
                <a:gd name="T24" fmla="*/ 0 w 1345"/>
                <a:gd name="T25" fmla="*/ 366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5" h="465">
                  <a:moveTo>
                    <a:pt x="0" y="366"/>
                  </a:moveTo>
                  <a:lnTo>
                    <a:pt x="1283" y="0"/>
                  </a:lnTo>
                  <a:lnTo>
                    <a:pt x="1289" y="13"/>
                  </a:lnTo>
                  <a:lnTo>
                    <a:pt x="1296" y="25"/>
                  </a:lnTo>
                  <a:lnTo>
                    <a:pt x="1304" y="38"/>
                  </a:lnTo>
                  <a:lnTo>
                    <a:pt x="1311" y="49"/>
                  </a:lnTo>
                  <a:lnTo>
                    <a:pt x="1327" y="73"/>
                  </a:lnTo>
                  <a:lnTo>
                    <a:pt x="1345" y="97"/>
                  </a:lnTo>
                  <a:lnTo>
                    <a:pt x="57" y="465"/>
                  </a:lnTo>
                  <a:lnTo>
                    <a:pt x="44" y="441"/>
                  </a:lnTo>
                  <a:lnTo>
                    <a:pt x="30" y="417"/>
                  </a:lnTo>
                  <a:lnTo>
                    <a:pt x="16" y="393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48"/>
            <p:cNvSpPr>
              <a:spLocks/>
            </p:cNvSpPr>
            <p:nvPr/>
          </p:nvSpPr>
          <p:spPr bwMode="auto">
            <a:xfrm>
              <a:off x="4643439" y="1619250"/>
              <a:ext cx="534988" cy="185738"/>
            </a:xfrm>
            <a:custGeom>
              <a:avLst/>
              <a:gdLst>
                <a:gd name="T0" fmla="*/ 0 w 1350"/>
                <a:gd name="T1" fmla="*/ 367 h 466"/>
                <a:gd name="T2" fmla="*/ 1281 w 1350"/>
                <a:gd name="T3" fmla="*/ 0 h 466"/>
                <a:gd name="T4" fmla="*/ 1298 w 1350"/>
                <a:gd name="T5" fmla="*/ 25 h 466"/>
                <a:gd name="T6" fmla="*/ 1316 w 1350"/>
                <a:gd name="T7" fmla="*/ 48 h 466"/>
                <a:gd name="T8" fmla="*/ 1333 w 1350"/>
                <a:gd name="T9" fmla="*/ 71 h 466"/>
                <a:gd name="T10" fmla="*/ 1350 w 1350"/>
                <a:gd name="T11" fmla="*/ 95 h 466"/>
                <a:gd name="T12" fmla="*/ 53 w 1350"/>
                <a:gd name="T13" fmla="*/ 466 h 466"/>
                <a:gd name="T14" fmla="*/ 42 w 1350"/>
                <a:gd name="T15" fmla="*/ 442 h 466"/>
                <a:gd name="T16" fmla="*/ 29 w 1350"/>
                <a:gd name="T17" fmla="*/ 418 h 466"/>
                <a:gd name="T18" fmla="*/ 15 w 1350"/>
                <a:gd name="T19" fmla="*/ 393 h 466"/>
                <a:gd name="T20" fmla="*/ 0 w 1350"/>
                <a:gd name="T21" fmla="*/ 36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0" h="466">
                  <a:moveTo>
                    <a:pt x="0" y="367"/>
                  </a:moveTo>
                  <a:lnTo>
                    <a:pt x="1281" y="0"/>
                  </a:lnTo>
                  <a:lnTo>
                    <a:pt x="1298" y="25"/>
                  </a:lnTo>
                  <a:lnTo>
                    <a:pt x="1316" y="48"/>
                  </a:lnTo>
                  <a:lnTo>
                    <a:pt x="1333" y="71"/>
                  </a:lnTo>
                  <a:lnTo>
                    <a:pt x="1350" y="95"/>
                  </a:lnTo>
                  <a:lnTo>
                    <a:pt x="53" y="466"/>
                  </a:lnTo>
                  <a:lnTo>
                    <a:pt x="42" y="442"/>
                  </a:lnTo>
                  <a:lnTo>
                    <a:pt x="29" y="418"/>
                  </a:lnTo>
                  <a:lnTo>
                    <a:pt x="15" y="393"/>
                  </a:lnTo>
                  <a:lnTo>
                    <a:pt x="0" y="3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49"/>
            <p:cNvSpPr>
              <a:spLocks/>
            </p:cNvSpPr>
            <p:nvPr/>
          </p:nvSpPr>
          <p:spPr bwMode="auto">
            <a:xfrm>
              <a:off x="4654551" y="1638300"/>
              <a:ext cx="536575" cy="187325"/>
            </a:xfrm>
            <a:custGeom>
              <a:avLst/>
              <a:gdLst>
                <a:gd name="T0" fmla="*/ 0 w 1352"/>
                <a:gd name="T1" fmla="*/ 368 h 470"/>
                <a:gd name="T2" fmla="*/ 1288 w 1352"/>
                <a:gd name="T3" fmla="*/ 0 h 470"/>
                <a:gd name="T4" fmla="*/ 1305 w 1352"/>
                <a:gd name="T5" fmla="*/ 22 h 470"/>
                <a:gd name="T6" fmla="*/ 1322 w 1352"/>
                <a:gd name="T7" fmla="*/ 46 h 470"/>
                <a:gd name="T8" fmla="*/ 1338 w 1352"/>
                <a:gd name="T9" fmla="*/ 70 h 470"/>
                <a:gd name="T10" fmla="*/ 1352 w 1352"/>
                <a:gd name="T11" fmla="*/ 95 h 470"/>
                <a:gd name="T12" fmla="*/ 39 w 1352"/>
                <a:gd name="T13" fmla="*/ 470 h 470"/>
                <a:gd name="T14" fmla="*/ 37 w 1352"/>
                <a:gd name="T15" fmla="*/ 457 h 470"/>
                <a:gd name="T16" fmla="*/ 34 w 1352"/>
                <a:gd name="T17" fmla="*/ 444 h 470"/>
                <a:gd name="T18" fmla="*/ 30 w 1352"/>
                <a:gd name="T19" fmla="*/ 431 h 470"/>
                <a:gd name="T20" fmla="*/ 25 w 1352"/>
                <a:gd name="T21" fmla="*/ 418 h 470"/>
                <a:gd name="T22" fmla="*/ 14 w 1352"/>
                <a:gd name="T23" fmla="*/ 393 h 470"/>
                <a:gd name="T24" fmla="*/ 0 w 1352"/>
                <a:gd name="T25" fmla="*/ 36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2" h="470">
                  <a:moveTo>
                    <a:pt x="0" y="368"/>
                  </a:moveTo>
                  <a:lnTo>
                    <a:pt x="1288" y="0"/>
                  </a:lnTo>
                  <a:lnTo>
                    <a:pt x="1305" y="22"/>
                  </a:lnTo>
                  <a:lnTo>
                    <a:pt x="1322" y="46"/>
                  </a:lnTo>
                  <a:lnTo>
                    <a:pt x="1338" y="70"/>
                  </a:lnTo>
                  <a:lnTo>
                    <a:pt x="1352" y="95"/>
                  </a:lnTo>
                  <a:lnTo>
                    <a:pt x="39" y="470"/>
                  </a:lnTo>
                  <a:lnTo>
                    <a:pt x="37" y="457"/>
                  </a:lnTo>
                  <a:lnTo>
                    <a:pt x="34" y="444"/>
                  </a:lnTo>
                  <a:lnTo>
                    <a:pt x="30" y="431"/>
                  </a:lnTo>
                  <a:lnTo>
                    <a:pt x="25" y="418"/>
                  </a:lnTo>
                  <a:lnTo>
                    <a:pt x="14" y="393"/>
                  </a:lnTo>
                  <a:lnTo>
                    <a:pt x="0" y="3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50"/>
            <p:cNvSpPr>
              <a:spLocks/>
            </p:cNvSpPr>
            <p:nvPr/>
          </p:nvSpPr>
          <p:spPr bwMode="auto">
            <a:xfrm>
              <a:off x="4664076" y="1657350"/>
              <a:ext cx="534988" cy="190500"/>
            </a:xfrm>
            <a:custGeom>
              <a:avLst/>
              <a:gdLst>
                <a:gd name="T0" fmla="*/ 0 w 1349"/>
                <a:gd name="T1" fmla="*/ 371 h 482"/>
                <a:gd name="T2" fmla="*/ 1297 w 1349"/>
                <a:gd name="T3" fmla="*/ 0 h 482"/>
                <a:gd name="T4" fmla="*/ 1313 w 1349"/>
                <a:gd name="T5" fmla="*/ 24 h 482"/>
                <a:gd name="T6" fmla="*/ 1327 w 1349"/>
                <a:gd name="T7" fmla="*/ 47 h 482"/>
                <a:gd name="T8" fmla="*/ 1334 w 1349"/>
                <a:gd name="T9" fmla="*/ 60 h 482"/>
                <a:gd name="T10" fmla="*/ 1339 w 1349"/>
                <a:gd name="T11" fmla="*/ 73 h 482"/>
                <a:gd name="T12" fmla="*/ 1344 w 1349"/>
                <a:gd name="T13" fmla="*/ 86 h 482"/>
                <a:gd name="T14" fmla="*/ 1349 w 1349"/>
                <a:gd name="T15" fmla="*/ 100 h 482"/>
                <a:gd name="T16" fmla="*/ 14 w 1349"/>
                <a:gd name="T17" fmla="*/ 482 h 482"/>
                <a:gd name="T18" fmla="*/ 15 w 1349"/>
                <a:gd name="T19" fmla="*/ 467 h 482"/>
                <a:gd name="T20" fmla="*/ 16 w 1349"/>
                <a:gd name="T21" fmla="*/ 452 h 482"/>
                <a:gd name="T22" fmla="*/ 15 w 1349"/>
                <a:gd name="T23" fmla="*/ 438 h 482"/>
                <a:gd name="T24" fmla="*/ 14 w 1349"/>
                <a:gd name="T25" fmla="*/ 424 h 482"/>
                <a:gd name="T26" fmla="*/ 12 w 1349"/>
                <a:gd name="T27" fmla="*/ 411 h 482"/>
                <a:gd name="T28" fmla="*/ 9 w 1349"/>
                <a:gd name="T29" fmla="*/ 397 h 482"/>
                <a:gd name="T30" fmla="*/ 4 w 1349"/>
                <a:gd name="T31" fmla="*/ 384 h 482"/>
                <a:gd name="T32" fmla="*/ 0 w 1349"/>
                <a:gd name="T33" fmla="*/ 371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9" h="482">
                  <a:moveTo>
                    <a:pt x="0" y="371"/>
                  </a:moveTo>
                  <a:lnTo>
                    <a:pt x="1297" y="0"/>
                  </a:lnTo>
                  <a:lnTo>
                    <a:pt x="1313" y="24"/>
                  </a:lnTo>
                  <a:lnTo>
                    <a:pt x="1327" y="47"/>
                  </a:lnTo>
                  <a:lnTo>
                    <a:pt x="1334" y="60"/>
                  </a:lnTo>
                  <a:lnTo>
                    <a:pt x="1339" y="73"/>
                  </a:lnTo>
                  <a:lnTo>
                    <a:pt x="1344" y="86"/>
                  </a:lnTo>
                  <a:lnTo>
                    <a:pt x="1349" y="100"/>
                  </a:lnTo>
                  <a:lnTo>
                    <a:pt x="14" y="482"/>
                  </a:lnTo>
                  <a:lnTo>
                    <a:pt x="15" y="467"/>
                  </a:lnTo>
                  <a:lnTo>
                    <a:pt x="16" y="452"/>
                  </a:lnTo>
                  <a:lnTo>
                    <a:pt x="15" y="438"/>
                  </a:lnTo>
                  <a:lnTo>
                    <a:pt x="14" y="424"/>
                  </a:lnTo>
                  <a:lnTo>
                    <a:pt x="12" y="411"/>
                  </a:lnTo>
                  <a:lnTo>
                    <a:pt x="9" y="397"/>
                  </a:lnTo>
                  <a:lnTo>
                    <a:pt x="4" y="384"/>
                  </a:lnTo>
                  <a:lnTo>
                    <a:pt x="0" y="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51"/>
            <p:cNvSpPr>
              <a:spLocks/>
            </p:cNvSpPr>
            <p:nvPr/>
          </p:nvSpPr>
          <p:spPr bwMode="auto">
            <a:xfrm>
              <a:off x="4662489" y="1676400"/>
              <a:ext cx="541338" cy="196850"/>
            </a:xfrm>
            <a:custGeom>
              <a:avLst/>
              <a:gdLst>
                <a:gd name="T0" fmla="*/ 18 w 1364"/>
                <a:gd name="T1" fmla="*/ 375 h 495"/>
                <a:gd name="T2" fmla="*/ 1331 w 1364"/>
                <a:gd name="T3" fmla="*/ 0 h 495"/>
                <a:gd name="T4" fmla="*/ 1338 w 1364"/>
                <a:gd name="T5" fmla="*/ 12 h 495"/>
                <a:gd name="T6" fmla="*/ 1343 w 1364"/>
                <a:gd name="T7" fmla="*/ 24 h 495"/>
                <a:gd name="T8" fmla="*/ 1348 w 1364"/>
                <a:gd name="T9" fmla="*/ 36 h 495"/>
                <a:gd name="T10" fmla="*/ 1353 w 1364"/>
                <a:gd name="T11" fmla="*/ 49 h 495"/>
                <a:gd name="T12" fmla="*/ 1356 w 1364"/>
                <a:gd name="T13" fmla="*/ 63 h 495"/>
                <a:gd name="T14" fmla="*/ 1359 w 1364"/>
                <a:gd name="T15" fmla="*/ 76 h 495"/>
                <a:gd name="T16" fmla="*/ 1362 w 1364"/>
                <a:gd name="T17" fmla="*/ 91 h 495"/>
                <a:gd name="T18" fmla="*/ 1364 w 1364"/>
                <a:gd name="T19" fmla="*/ 105 h 495"/>
                <a:gd name="T20" fmla="*/ 0 w 1364"/>
                <a:gd name="T21" fmla="*/ 495 h 495"/>
                <a:gd name="T22" fmla="*/ 6 w 1364"/>
                <a:gd name="T23" fmla="*/ 478 h 495"/>
                <a:gd name="T24" fmla="*/ 12 w 1364"/>
                <a:gd name="T25" fmla="*/ 462 h 495"/>
                <a:gd name="T26" fmla="*/ 15 w 1364"/>
                <a:gd name="T27" fmla="*/ 446 h 495"/>
                <a:gd name="T28" fmla="*/ 18 w 1364"/>
                <a:gd name="T29" fmla="*/ 431 h 495"/>
                <a:gd name="T30" fmla="*/ 19 w 1364"/>
                <a:gd name="T31" fmla="*/ 417 h 495"/>
                <a:gd name="T32" fmla="*/ 20 w 1364"/>
                <a:gd name="T33" fmla="*/ 403 h 495"/>
                <a:gd name="T34" fmla="*/ 19 w 1364"/>
                <a:gd name="T35" fmla="*/ 389 h 495"/>
                <a:gd name="T36" fmla="*/ 18 w 1364"/>
                <a:gd name="T37" fmla="*/ 37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64" h="495">
                  <a:moveTo>
                    <a:pt x="18" y="375"/>
                  </a:moveTo>
                  <a:lnTo>
                    <a:pt x="1331" y="0"/>
                  </a:lnTo>
                  <a:lnTo>
                    <a:pt x="1338" y="12"/>
                  </a:lnTo>
                  <a:lnTo>
                    <a:pt x="1343" y="24"/>
                  </a:lnTo>
                  <a:lnTo>
                    <a:pt x="1348" y="36"/>
                  </a:lnTo>
                  <a:lnTo>
                    <a:pt x="1353" y="49"/>
                  </a:lnTo>
                  <a:lnTo>
                    <a:pt x="1356" y="63"/>
                  </a:lnTo>
                  <a:lnTo>
                    <a:pt x="1359" y="76"/>
                  </a:lnTo>
                  <a:lnTo>
                    <a:pt x="1362" y="91"/>
                  </a:lnTo>
                  <a:lnTo>
                    <a:pt x="1364" y="105"/>
                  </a:lnTo>
                  <a:lnTo>
                    <a:pt x="0" y="495"/>
                  </a:lnTo>
                  <a:lnTo>
                    <a:pt x="6" y="478"/>
                  </a:lnTo>
                  <a:lnTo>
                    <a:pt x="12" y="462"/>
                  </a:lnTo>
                  <a:lnTo>
                    <a:pt x="15" y="446"/>
                  </a:lnTo>
                  <a:lnTo>
                    <a:pt x="18" y="431"/>
                  </a:lnTo>
                  <a:lnTo>
                    <a:pt x="19" y="417"/>
                  </a:lnTo>
                  <a:lnTo>
                    <a:pt x="20" y="403"/>
                  </a:lnTo>
                  <a:lnTo>
                    <a:pt x="19" y="389"/>
                  </a:lnTo>
                  <a:lnTo>
                    <a:pt x="18" y="3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52"/>
            <p:cNvSpPr>
              <a:spLocks/>
            </p:cNvSpPr>
            <p:nvPr/>
          </p:nvSpPr>
          <p:spPr bwMode="auto">
            <a:xfrm>
              <a:off x="4649789" y="1697038"/>
              <a:ext cx="554038" cy="201613"/>
            </a:xfrm>
            <a:custGeom>
              <a:avLst/>
              <a:gdLst>
                <a:gd name="T0" fmla="*/ 51 w 1397"/>
                <a:gd name="T1" fmla="*/ 382 h 510"/>
                <a:gd name="T2" fmla="*/ 1386 w 1397"/>
                <a:gd name="T3" fmla="*/ 0 h 510"/>
                <a:gd name="T4" fmla="*/ 1390 w 1397"/>
                <a:gd name="T5" fmla="*/ 14 h 510"/>
                <a:gd name="T6" fmla="*/ 1393 w 1397"/>
                <a:gd name="T7" fmla="*/ 28 h 510"/>
                <a:gd name="T8" fmla="*/ 1395 w 1397"/>
                <a:gd name="T9" fmla="*/ 43 h 510"/>
                <a:gd name="T10" fmla="*/ 1397 w 1397"/>
                <a:gd name="T11" fmla="*/ 59 h 510"/>
                <a:gd name="T12" fmla="*/ 1397 w 1397"/>
                <a:gd name="T13" fmla="*/ 69 h 510"/>
                <a:gd name="T14" fmla="*/ 1397 w 1397"/>
                <a:gd name="T15" fmla="*/ 76 h 510"/>
                <a:gd name="T16" fmla="*/ 1396 w 1397"/>
                <a:gd name="T17" fmla="*/ 83 h 510"/>
                <a:gd name="T18" fmla="*/ 1394 w 1397"/>
                <a:gd name="T19" fmla="*/ 87 h 510"/>
                <a:gd name="T20" fmla="*/ 1391 w 1397"/>
                <a:gd name="T21" fmla="*/ 91 h 510"/>
                <a:gd name="T22" fmla="*/ 1386 w 1397"/>
                <a:gd name="T23" fmla="*/ 96 h 510"/>
                <a:gd name="T24" fmla="*/ 1379 w 1397"/>
                <a:gd name="T25" fmla="*/ 99 h 510"/>
                <a:gd name="T26" fmla="*/ 1372 w 1397"/>
                <a:gd name="T27" fmla="*/ 103 h 510"/>
                <a:gd name="T28" fmla="*/ 1275 w 1397"/>
                <a:gd name="T29" fmla="*/ 146 h 510"/>
                <a:gd name="T30" fmla="*/ 0 w 1397"/>
                <a:gd name="T31" fmla="*/ 510 h 510"/>
                <a:gd name="T32" fmla="*/ 10 w 1397"/>
                <a:gd name="T33" fmla="*/ 492 h 510"/>
                <a:gd name="T34" fmla="*/ 20 w 1397"/>
                <a:gd name="T35" fmla="*/ 474 h 510"/>
                <a:gd name="T36" fmla="*/ 27 w 1397"/>
                <a:gd name="T37" fmla="*/ 457 h 510"/>
                <a:gd name="T38" fmla="*/ 34 w 1397"/>
                <a:gd name="T39" fmla="*/ 441 h 510"/>
                <a:gd name="T40" fmla="*/ 40 w 1397"/>
                <a:gd name="T41" fmla="*/ 425 h 510"/>
                <a:gd name="T42" fmla="*/ 45 w 1397"/>
                <a:gd name="T43" fmla="*/ 410 h 510"/>
                <a:gd name="T44" fmla="*/ 48 w 1397"/>
                <a:gd name="T45" fmla="*/ 396 h 510"/>
                <a:gd name="T46" fmla="*/ 51 w 1397"/>
                <a:gd name="T47" fmla="*/ 38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97" h="510">
                  <a:moveTo>
                    <a:pt x="51" y="382"/>
                  </a:moveTo>
                  <a:lnTo>
                    <a:pt x="1386" y="0"/>
                  </a:lnTo>
                  <a:lnTo>
                    <a:pt x="1390" y="14"/>
                  </a:lnTo>
                  <a:lnTo>
                    <a:pt x="1393" y="28"/>
                  </a:lnTo>
                  <a:lnTo>
                    <a:pt x="1395" y="43"/>
                  </a:lnTo>
                  <a:lnTo>
                    <a:pt x="1397" y="59"/>
                  </a:lnTo>
                  <a:lnTo>
                    <a:pt x="1397" y="69"/>
                  </a:lnTo>
                  <a:lnTo>
                    <a:pt x="1397" y="76"/>
                  </a:lnTo>
                  <a:lnTo>
                    <a:pt x="1396" y="83"/>
                  </a:lnTo>
                  <a:lnTo>
                    <a:pt x="1394" y="87"/>
                  </a:lnTo>
                  <a:lnTo>
                    <a:pt x="1391" y="91"/>
                  </a:lnTo>
                  <a:lnTo>
                    <a:pt x="1386" y="96"/>
                  </a:lnTo>
                  <a:lnTo>
                    <a:pt x="1379" y="99"/>
                  </a:lnTo>
                  <a:lnTo>
                    <a:pt x="1372" y="103"/>
                  </a:lnTo>
                  <a:lnTo>
                    <a:pt x="1275" y="146"/>
                  </a:lnTo>
                  <a:lnTo>
                    <a:pt x="0" y="510"/>
                  </a:lnTo>
                  <a:lnTo>
                    <a:pt x="10" y="492"/>
                  </a:lnTo>
                  <a:lnTo>
                    <a:pt x="20" y="474"/>
                  </a:lnTo>
                  <a:lnTo>
                    <a:pt x="27" y="457"/>
                  </a:lnTo>
                  <a:lnTo>
                    <a:pt x="34" y="441"/>
                  </a:lnTo>
                  <a:lnTo>
                    <a:pt x="40" y="425"/>
                  </a:lnTo>
                  <a:lnTo>
                    <a:pt x="45" y="410"/>
                  </a:lnTo>
                  <a:lnTo>
                    <a:pt x="48" y="396"/>
                  </a:lnTo>
                  <a:lnTo>
                    <a:pt x="51" y="3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53"/>
            <p:cNvSpPr>
              <a:spLocks/>
            </p:cNvSpPr>
            <p:nvPr/>
          </p:nvSpPr>
          <p:spPr bwMode="auto">
            <a:xfrm>
              <a:off x="4632326" y="1717675"/>
              <a:ext cx="571500" cy="209550"/>
            </a:xfrm>
            <a:custGeom>
              <a:avLst/>
              <a:gdLst>
                <a:gd name="T0" fmla="*/ 78 w 1442"/>
                <a:gd name="T1" fmla="*/ 390 h 527"/>
                <a:gd name="T2" fmla="*/ 1442 w 1442"/>
                <a:gd name="T3" fmla="*/ 0 h 527"/>
                <a:gd name="T4" fmla="*/ 1442 w 1442"/>
                <a:gd name="T5" fmla="*/ 5 h 527"/>
                <a:gd name="T6" fmla="*/ 1442 w 1442"/>
                <a:gd name="T7" fmla="*/ 15 h 527"/>
                <a:gd name="T8" fmla="*/ 1442 w 1442"/>
                <a:gd name="T9" fmla="*/ 22 h 527"/>
                <a:gd name="T10" fmla="*/ 1441 w 1442"/>
                <a:gd name="T11" fmla="*/ 29 h 527"/>
                <a:gd name="T12" fmla="*/ 1439 w 1442"/>
                <a:gd name="T13" fmla="*/ 33 h 527"/>
                <a:gd name="T14" fmla="*/ 1436 w 1442"/>
                <a:gd name="T15" fmla="*/ 37 h 527"/>
                <a:gd name="T16" fmla="*/ 1431 w 1442"/>
                <a:gd name="T17" fmla="*/ 42 h 527"/>
                <a:gd name="T18" fmla="*/ 1424 w 1442"/>
                <a:gd name="T19" fmla="*/ 45 h 527"/>
                <a:gd name="T20" fmla="*/ 1417 w 1442"/>
                <a:gd name="T21" fmla="*/ 49 h 527"/>
                <a:gd name="T22" fmla="*/ 1312 w 1442"/>
                <a:gd name="T23" fmla="*/ 96 h 527"/>
                <a:gd name="T24" fmla="*/ 1312 w 1442"/>
                <a:gd name="T25" fmla="*/ 106 h 527"/>
                <a:gd name="T26" fmla="*/ 1311 w 1442"/>
                <a:gd name="T27" fmla="*/ 119 h 527"/>
                <a:gd name="T28" fmla="*/ 1310 w 1442"/>
                <a:gd name="T29" fmla="*/ 134 h 527"/>
                <a:gd name="T30" fmla="*/ 1309 w 1442"/>
                <a:gd name="T31" fmla="*/ 153 h 527"/>
                <a:gd name="T32" fmla="*/ 0 w 1442"/>
                <a:gd name="T33" fmla="*/ 527 h 527"/>
                <a:gd name="T34" fmla="*/ 26 w 1442"/>
                <a:gd name="T35" fmla="*/ 488 h 527"/>
                <a:gd name="T36" fmla="*/ 48 w 1442"/>
                <a:gd name="T37" fmla="*/ 453 h 527"/>
                <a:gd name="T38" fmla="*/ 56 w 1442"/>
                <a:gd name="T39" fmla="*/ 436 h 527"/>
                <a:gd name="T40" fmla="*/ 65 w 1442"/>
                <a:gd name="T41" fmla="*/ 420 h 527"/>
                <a:gd name="T42" fmla="*/ 71 w 1442"/>
                <a:gd name="T43" fmla="*/ 404 h 527"/>
                <a:gd name="T44" fmla="*/ 78 w 1442"/>
                <a:gd name="T45" fmla="*/ 39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2" h="527">
                  <a:moveTo>
                    <a:pt x="78" y="390"/>
                  </a:moveTo>
                  <a:lnTo>
                    <a:pt x="1442" y="0"/>
                  </a:lnTo>
                  <a:lnTo>
                    <a:pt x="1442" y="5"/>
                  </a:lnTo>
                  <a:lnTo>
                    <a:pt x="1442" y="15"/>
                  </a:lnTo>
                  <a:lnTo>
                    <a:pt x="1442" y="22"/>
                  </a:lnTo>
                  <a:lnTo>
                    <a:pt x="1441" y="29"/>
                  </a:lnTo>
                  <a:lnTo>
                    <a:pt x="1439" y="33"/>
                  </a:lnTo>
                  <a:lnTo>
                    <a:pt x="1436" y="37"/>
                  </a:lnTo>
                  <a:lnTo>
                    <a:pt x="1431" y="42"/>
                  </a:lnTo>
                  <a:lnTo>
                    <a:pt x="1424" y="45"/>
                  </a:lnTo>
                  <a:lnTo>
                    <a:pt x="1417" y="49"/>
                  </a:lnTo>
                  <a:lnTo>
                    <a:pt x="1312" y="96"/>
                  </a:lnTo>
                  <a:lnTo>
                    <a:pt x="1312" y="106"/>
                  </a:lnTo>
                  <a:lnTo>
                    <a:pt x="1311" y="119"/>
                  </a:lnTo>
                  <a:lnTo>
                    <a:pt x="1310" y="134"/>
                  </a:lnTo>
                  <a:lnTo>
                    <a:pt x="1309" y="153"/>
                  </a:lnTo>
                  <a:lnTo>
                    <a:pt x="0" y="527"/>
                  </a:lnTo>
                  <a:lnTo>
                    <a:pt x="26" y="488"/>
                  </a:lnTo>
                  <a:lnTo>
                    <a:pt x="48" y="453"/>
                  </a:lnTo>
                  <a:lnTo>
                    <a:pt x="56" y="436"/>
                  </a:lnTo>
                  <a:lnTo>
                    <a:pt x="65" y="420"/>
                  </a:lnTo>
                  <a:lnTo>
                    <a:pt x="71" y="404"/>
                  </a:lnTo>
                  <a:lnTo>
                    <a:pt x="78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54"/>
            <p:cNvSpPr>
              <a:spLocks/>
            </p:cNvSpPr>
            <p:nvPr/>
          </p:nvSpPr>
          <p:spPr bwMode="auto">
            <a:xfrm>
              <a:off x="4610101" y="1755775"/>
              <a:ext cx="544513" cy="200025"/>
            </a:xfrm>
            <a:custGeom>
              <a:avLst/>
              <a:gdLst>
                <a:gd name="T0" fmla="*/ 100 w 1375"/>
                <a:gd name="T1" fmla="*/ 364 h 507"/>
                <a:gd name="T2" fmla="*/ 1375 w 1375"/>
                <a:gd name="T3" fmla="*/ 0 h 507"/>
                <a:gd name="T4" fmla="*/ 1367 w 1375"/>
                <a:gd name="T5" fmla="*/ 4 h 507"/>
                <a:gd name="T6" fmla="*/ 1366 w 1375"/>
                <a:gd name="T7" fmla="*/ 23 h 507"/>
                <a:gd name="T8" fmla="*/ 1365 w 1375"/>
                <a:gd name="T9" fmla="*/ 50 h 507"/>
                <a:gd name="T10" fmla="*/ 1363 w 1375"/>
                <a:gd name="T11" fmla="*/ 82 h 507"/>
                <a:gd name="T12" fmla="*/ 1361 w 1375"/>
                <a:gd name="T13" fmla="*/ 119 h 507"/>
                <a:gd name="T14" fmla="*/ 0 w 1375"/>
                <a:gd name="T15" fmla="*/ 507 h 507"/>
                <a:gd name="T16" fmla="*/ 31 w 1375"/>
                <a:gd name="T17" fmla="*/ 467 h 507"/>
                <a:gd name="T18" fmla="*/ 57 w 1375"/>
                <a:gd name="T19" fmla="*/ 431 h 507"/>
                <a:gd name="T20" fmla="*/ 81 w 1375"/>
                <a:gd name="T21" fmla="*/ 396 h 507"/>
                <a:gd name="T22" fmla="*/ 100 w 1375"/>
                <a:gd name="T23" fmla="*/ 364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5" h="507">
                  <a:moveTo>
                    <a:pt x="100" y="364"/>
                  </a:moveTo>
                  <a:lnTo>
                    <a:pt x="1375" y="0"/>
                  </a:lnTo>
                  <a:lnTo>
                    <a:pt x="1367" y="4"/>
                  </a:lnTo>
                  <a:lnTo>
                    <a:pt x="1366" y="23"/>
                  </a:lnTo>
                  <a:lnTo>
                    <a:pt x="1365" y="50"/>
                  </a:lnTo>
                  <a:lnTo>
                    <a:pt x="1363" y="82"/>
                  </a:lnTo>
                  <a:lnTo>
                    <a:pt x="1361" y="119"/>
                  </a:lnTo>
                  <a:lnTo>
                    <a:pt x="0" y="507"/>
                  </a:lnTo>
                  <a:lnTo>
                    <a:pt x="31" y="467"/>
                  </a:lnTo>
                  <a:lnTo>
                    <a:pt x="57" y="431"/>
                  </a:lnTo>
                  <a:lnTo>
                    <a:pt x="81" y="396"/>
                  </a:lnTo>
                  <a:lnTo>
                    <a:pt x="100" y="3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55"/>
            <p:cNvSpPr>
              <a:spLocks/>
            </p:cNvSpPr>
            <p:nvPr/>
          </p:nvSpPr>
          <p:spPr bwMode="auto">
            <a:xfrm>
              <a:off x="4586289" y="1779588"/>
              <a:ext cx="565150" cy="206375"/>
            </a:xfrm>
            <a:custGeom>
              <a:avLst/>
              <a:gdLst>
                <a:gd name="T0" fmla="*/ 116 w 1425"/>
                <a:gd name="T1" fmla="*/ 374 h 521"/>
                <a:gd name="T2" fmla="*/ 1425 w 1425"/>
                <a:gd name="T3" fmla="*/ 0 h 521"/>
                <a:gd name="T4" fmla="*/ 1424 w 1425"/>
                <a:gd name="T5" fmla="*/ 25 h 521"/>
                <a:gd name="T6" fmla="*/ 1422 w 1425"/>
                <a:gd name="T7" fmla="*/ 53 h 521"/>
                <a:gd name="T8" fmla="*/ 1420 w 1425"/>
                <a:gd name="T9" fmla="*/ 83 h 521"/>
                <a:gd name="T10" fmla="*/ 1418 w 1425"/>
                <a:gd name="T11" fmla="*/ 116 h 521"/>
                <a:gd name="T12" fmla="*/ 0 w 1425"/>
                <a:gd name="T13" fmla="*/ 521 h 521"/>
                <a:gd name="T14" fmla="*/ 33 w 1425"/>
                <a:gd name="T15" fmla="*/ 480 h 521"/>
                <a:gd name="T16" fmla="*/ 65 w 1425"/>
                <a:gd name="T17" fmla="*/ 443 h 521"/>
                <a:gd name="T18" fmla="*/ 92 w 1425"/>
                <a:gd name="T19" fmla="*/ 406 h 521"/>
                <a:gd name="T20" fmla="*/ 116 w 1425"/>
                <a:gd name="T21" fmla="*/ 37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5" h="521">
                  <a:moveTo>
                    <a:pt x="116" y="374"/>
                  </a:moveTo>
                  <a:lnTo>
                    <a:pt x="1425" y="0"/>
                  </a:lnTo>
                  <a:lnTo>
                    <a:pt x="1424" y="25"/>
                  </a:lnTo>
                  <a:lnTo>
                    <a:pt x="1422" y="53"/>
                  </a:lnTo>
                  <a:lnTo>
                    <a:pt x="1420" y="83"/>
                  </a:lnTo>
                  <a:lnTo>
                    <a:pt x="1418" y="116"/>
                  </a:lnTo>
                  <a:lnTo>
                    <a:pt x="0" y="521"/>
                  </a:lnTo>
                  <a:lnTo>
                    <a:pt x="33" y="480"/>
                  </a:lnTo>
                  <a:lnTo>
                    <a:pt x="65" y="443"/>
                  </a:lnTo>
                  <a:lnTo>
                    <a:pt x="92" y="406"/>
                  </a:lnTo>
                  <a:lnTo>
                    <a:pt x="11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56"/>
            <p:cNvSpPr>
              <a:spLocks/>
            </p:cNvSpPr>
            <p:nvPr/>
          </p:nvSpPr>
          <p:spPr bwMode="auto">
            <a:xfrm>
              <a:off x="4583114" y="1801813"/>
              <a:ext cx="566738" cy="198438"/>
            </a:xfrm>
            <a:custGeom>
              <a:avLst/>
              <a:gdLst>
                <a:gd name="T0" fmla="*/ 66 w 1427"/>
                <a:gd name="T1" fmla="*/ 388 h 500"/>
                <a:gd name="T2" fmla="*/ 1427 w 1427"/>
                <a:gd name="T3" fmla="*/ 0 h 500"/>
                <a:gd name="T4" fmla="*/ 1425 w 1427"/>
                <a:gd name="T5" fmla="*/ 28 h 500"/>
                <a:gd name="T6" fmla="*/ 1423 w 1427"/>
                <a:gd name="T7" fmla="*/ 56 h 500"/>
                <a:gd name="T8" fmla="*/ 1420 w 1427"/>
                <a:gd name="T9" fmla="*/ 86 h 500"/>
                <a:gd name="T10" fmla="*/ 1418 w 1427"/>
                <a:gd name="T11" fmla="*/ 116 h 500"/>
                <a:gd name="T12" fmla="*/ 74 w 1427"/>
                <a:gd name="T13" fmla="*/ 500 h 500"/>
                <a:gd name="T14" fmla="*/ 55 w 1427"/>
                <a:gd name="T15" fmla="*/ 493 h 500"/>
                <a:gd name="T16" fmla="*/ 35 w 1427"/>
                <a:gd name="T17" fmla="*/ 486 h 500"/>
                <a:gd name="T18" fmla="*/ 17 w 1427"/>
                <a:gd name="T19" fmla="*/ 477 h 500"/>
                <a:gd name="T20" fmla="*/ 0 w 1427"/>
                <a:gd name="T21" fmla="*/ 470 h 500"/>
                <a:gd name="T22" fmla="*/ 18 w 1427"/>
                <a:gd name="T23" fmla="*/ 448 h 500"/>
                <a:gd name="T24" fmla="*/ 34 w 1427"/>
                <a:gd name="T25" fmla="*/ 428 h 500"/>
                <a:gd name="T26" fmla="*/ 51 w 1427"/>
                <a:gd name="T27" fmla="*/ 407 h 500"/>
                <a:gd name="T28" fmla="*/ 66 w 1427"/>
                <a:gd name="T29" fmla="*/ 38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7" h="500">
                  <a:moveTo>
                    <a:pt x="66" y="388"/>
                  </a:moveTo>
                  <a:lnTo>
                    <a:pt x="1427" y="0"/>
                  </a:lnTo>
                  <a:lnTo>
                    <a:pt x="1425" y="28"/>
                  </a:lnTo>
                  <a:lnTo>
                    <a:pt x="1423" y="56"/>
                  </a:lnTo>
                  <a:lnTo>
                    <a:pt x="1420" y="86"/>
                  </a:lnTo>
                  <a:lnTo>
                    <a:pt x="1418" y="116"/>
                  </a:lnTo>
                  <a:lnTo>
                    <a:pt x="74" y="500"/>
                  </a:lnTo>
                  <a:lnTo>
                    <a:pt x="55" y="493"/>
                  </a:lnTo>
                  <a:lnTo>
                    <a:pt x="35" y="486"/>
                  </a:lnTo>
                  <a:lnTo>
                    <a:pt x="17" y="477"/>
                  </a:lnTo>
                  <a:lnTo>
                    <a:pt x="0" y="470"/>
                  </a:lnTo>
                  <a:lnTo>
                    <a:pt x="18" y="448"/>
                  </a:lnTo>
                  <a:lnTo>
                    <a:pt x="34" y="428"/>
                  </a:lnTo>
                  <a:lnTo>
                    <a:pt x="51" y="407"/>
                  </a:lnTo>
                  <a:lnTo>
                    <a:pt x="66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57"/>
            <p:cNvSpPr>
              <a:spLocks/>
            </p:cNvSpPr>
            <p:nvPr/>
          </p:nvSpPr>
          <p:spPr bwMode="auto">
            <a:xfrm>
              <a:off x="4583114" y="1825625"/>
              <a:ext cx="565150" cy="187325"/>
            </a:xfrm>
            <a:custGeom>
              <a:avLst/>
              <a:gdLst>
                <a:gd name="T0" fmla="*/ 5 w 1423"/>
                <a:gd name="T1" fmla="*/ 405 h 473"/>
                <a:gd name="T2" fmla="*/ 1423 w 1423"/>
                <a:gd name="T3" fmla="*/ 0 h 473"/>
                <a:gd name="T4" fmla="*/ 1420 w 1423"/>
                <a:gd name="T5" fmla="*/ 29 h 473"/>
                <a:gd name="T6" fmla="*/ 1418 w 1423"/>
                <a:gd name="T7" fmla="*/ 58 h 473"/>
                <a:gd name="T8" fmla="*/ 1415 w 1423"/>
                <a:gd name="T9" fmla="*/ 88 h 473"/>
                <a:gd name="T10" fmla="*/ 1413 w 1423"/>
                <a:gd name="T11" fmla="*/ 117 h 473"/>
                <a:gd name="T12" fmla="*/ 164 w 1423"/>
                <a:gd name="T13" fmla="*/ 473 h 473"/>
                <a:gd name="T14" fmla="*/ 143 w 1423"/>
                <a:gd name="T15" fmla="*/ 465 h 473"/>
                <a:gd name="T16" fmla="*/ 120 w 1423"/>
                <a:gd name="T17" fmla="*/ 458 h 473"/>
                <a:gd name="T18" fmla="*/ 99 w 1423"/>
                <a:gd name="T19" fmla="*/ 451 h 473"/>
                <a:gd name="T20" fmla="*/ 78 w 1423"/>
                <a:gd name="T21" fmla="*/ 444 h 473"/>
                <a:gd name="T22" fmla="*/ 57 w 1423"/>
                <a:gd name="T23" fmla="*/ 436 h 473"/>
                <a:gd name="T24" fmla="*/ 37 w 1423"/>
                <a:gd name="T25" fmla="*/ 429 h 473"/>
                <a:gd name="T26" fmla="*/ 18 w 1423"/>
                <a:gd name="T27" fmla="*/ 420 h 473"/>
                <a:gd name="T28" fmla="*/ 0 w 1423"/>
                <a:gd name="T29" fmla="*/ 412 h 473"/>
                <a:gd name="T30" fmla="*/ 5 w 1423"/>
                <a:gd name="T31" fmla="*/ 405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23" h="473">
                  <a:moveTo>
                    <a:pt x="5" y="405"/>
                  </a:moveTo>
                  <a:lnTo>
                    <a:pt x="1423" y="0"/>
                  </a:lnTo>
                  <a:lnTo>
                    <a:pt x="1420" y="29"/>
                  </a:lnTo>
                  <a:lnTo>
                    <a:pt x="1418" y="58"/>
                  </a:lnTo>
                  <a:lnTo>
                    <a:pt x="1415" y="88"/>
                  </a:lnTo>
                  <a:lnTo>
                    <a:pt x="1413" y="117"/>
                  </a:lnTo>
                  <a:lnTo>
                    <a:pt x="164" y="473"/>
                  </a:lnTo>
                  <a:lnTo>
                    <a:pt x="143" y="465"/>
                  </a:lnTo>
                  <a:lnTo>
                    <a:pt x="120" y="458"/>
                  </a:lnTo>
                  <a:lnTo>
                    <a:pt x="99" y="451"/>
                  </a:lnTo>
                  <a:lnTo>
                    <a:pt x="78" y="444"/>
                  </a:lnTo>
                  <a:lnTo>
                    <a:pt x="57" y="436"/>
                  </a:lnTo>
                  <a:lnTo>
                    <a:pt x="37" y="429"/>
                  </a:lnTo>
                  <a:lnTo>
                    <a:pt x="18" y="420"/>
                  </a:lnTo>
                  <a:lnTo>
                    <a:pt x="0" y="412"/>
                  </a:lnTo>
                  <a:lnTo>
                    <a:pt x="5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58"/>
            <p:cNvSpPr>
              <a:spLocks/>
            </p:cNvSpPr>
            <p:nvPr/>
          </p:nvSpPr>
          <p:spPr bwMode="auto">
            <a:xfrm>
              <a:off x="4613276" y="1847850"/>
              <a:ext cx="533400" cy="177800"/>
            </a:xfrm>
            <a:custGeom>
              <a:avLst/>
              <a:gdLst>
                <a:gd name="T0" fmla="*/ 0 w 1344"/>
                <a:gd name="T1" fmla="*/ 384 h 448"/>
                <a:gd name="T2" fmla="*/ 1344 w 1344"/>
                <a:gd name="T3" fmla="*/ 0 h 448"/>
                <a:gd name="T4" fmla="*/ 1342 w 1344"/>
                <a:gd name="T5" fmla="*/ 15 h 448"/>
                <a:gd name="T6" fmla="*/ 1341 w 1344"/>
                <a:gd name="T7" fmla="*/ 31 h 448"/>
                <a:gd name="T8" fmla="*/ 1340 w 1344"/>
                <a:gd name="T9" fmla="*/ 46 h 448"/>
                <a:gd name="T10" fmla="*/ 1339 w 1344"/>
                <a:gd name="T11" fmla="*/ 61 h 448"/>
                <a:gd name="T12" fmla="*/ 1338 w 1344"/>
                <a:gd name="T13" fmla="*/ 75 h 448"/>
                <a:gd name="T14" fmla="*/ 1336 w 1344"/>
                <a:gd name="T15" fmla="*/ 89 h 448"/>
                <a:gd name="T16" fmla="*/ 1332 w 1344"/>
                <a:gd name="T17" fmla="*/ 104 h 448"/>
                <a:gd name="T18" fmla="*/ 1328 w 1344"/>
                <a:gd name="T19" fmla="*/ 119 h 448"/>
                <a:gd name="T20" fmla="*/ 174 w 1344"/>
                <a:gd name="T21" fmla="*/ 448 h 448"/>
                <a:gd name="T22" fmla="*/ 153 w 1344"/>
                <a:gd name="T23" fmla="*/ 439 h 448"/>
                <a:gd name="T24" fmla="*/ 130 w 1344"/>
                <a:gd name="T25" fmla="*/ 430 h 448"/>
                <a:gd name="T26" fmla="*/ 107 w 1344"/>
                <a:gd name="T27" fmla="*/ 421 h 448"/>
                <a:gd name="T28" fmla="*/ 86 w 1344"/>
                <a:gd name="T29" fmla="*/ 414 h 448"/>
                <a:gd name="T30" fmla="*/ 63 w 1344"/>
                <a:gd name="T31" fmla="*/ 406 h 448"/>
                <a:gd name="T32" fmla="*/ 42 w 1344"/>
                <a:gd name="T33" fmla="*/ 399 h 448"/>
                <a:gd name="T34" fmla="*/ 20 w 1344"/>
                <a:gd name="T35" fmla="*/ 391 h 448"/>
                <a:gd name="T36" fmla="*/ 0 w 1344"/>
                <a:gd name="T37" fmla="*/ 38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44" h="448">
                  <a:moveTo>
                    <a:pt x="0" y="384"/>
                  </a:moveTo>
                  <a:lnTo>
                    <a:pt x="1344" y="0"/>
                  </a:lnTo>
                  <a:lnTo>
                    <a:pt x="1342" y="15"/>
                  </a:lnTo>
                  <a:lnTo>
                    <a:pt x="1341" y="31"/>
                  </a:lnTo>
                  <a:lnTo>
                    <a:pt x="1340" y="46"/>
                  </a:lnTo>
                  <a:lnTo>
                    <a:pt x="1339" y="61"/>
                  </a:lnTo>
                  <a:lnTo>
                    <a:pt x="1338" y="75"/>
                  </a:lnTo>
                  <a:lnTo>
                    <a:pt x="1336" y="89"/>
                  </a:lnTo>
                  <a:lnTo>
                    <a:pt x="1332" y="104"/>
                  </a:lnTo>
                  <a:lnTo>
                    <a:pt x="1328" y="119"/>
                  </a:lnTo>
                  <a:lnTo>
                    <a:pt x="174" y="448"/>
                  </a:lnTo>
                  <a:lnTo>
                    <a:pt x="153" y="439"/>
                  </a:lnTo>
                  <a:lnTo>
                    <a:pt x="130" y="430"/>
                  </a:lnTo>
                  <a:lnTo>
                    <a:pt x="107" y="421"/>
                  </a:lnTo>
                  <a:lnTo>
                    <a:pt x="86" y="414"/>
                  </a:lnTo>
                  <a:lnTo>
                    <a:pt x="63" y="406"/>
                  </a:lnTo>
                  <a:lnTo>
                    <a:pt x="42" y="399"/>
                  </a:lnTo>
                  <a:lnTo>
                    <a:pt x="20" y="391"/>
                  </a:lnTo>
                  <a:lnTo>
                    <a:pt x="0" y="3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59"/>
            <p:cNvSpPr>
              <a:spLocks/>
            </p:cNvSpPr>
            <p:nvPr/>
          </p:nvSpPr>
          <p:spPr bwMode="auto">
            <a:xfrm>
              <a:off x="4648201" y="1871663"/>
              <a:ext cx="495300" cy="168275"/>
            </a:xfrm>
            <a:custGeom>
              <a:avLst/>
              <a:gdLst>
                <a:gd name="T0" fmla="*/ 0 w 1249"/>
                <a:gd name="T1" fmla="*/ 356 h 426"/>
                <a:gd name="T2" fmla="*/ 1249 w 1249"/>
                <a:gd name="T3" fmla="*/ 0 h 426"/>
                <a:gd name="T4" fmla="*/ 1249 w 1249"/>
                <a:gd name="T5" fmla="*/ 2 h 426"/>
                <a:gd name="T6" fmla="*/ 1248 w 1249"/>
                <a:gd name="T7" fmla="*/ 17 h 426"/>
                <a:gd name="T8" fmla="*/ 1245 w 1249"/>
                <a:gd name="T9" fmla="*/ 33 h 426"/>
                <a:gd name="T10" fmla="*/ 1241 w 1249"/>
                <a:gd name="T11" fmla="*/ 48 h 426"/>
                <a:gd name="T12" fmla="*/ 1237 w 1249"/>
                <a:gd name="T13" fmla="*/ 64 h 426"/>
                <a:gd name="T14" fmla="*/ 1232 w 1249"/>
                <a:gd name="T15" fmla="*/ 81 h 426"/>
                <a:gd name="T16" fmla="*/ 1224 w 1249"/>
                <a:gd name="T17" fmla="*/ 97 h 426"/>
                <a:gd name="T18" fmla="*/ 1216 w 1249"/>
                <a:gd name="T19" fmla="*/ 112 h 426"/>
                <a:gd name="T20" fmla="*/ 1206 w 1249"/>
                <a:gd name="T21" fmla="*/ 126 h 426"/>
                <a:gd name="T22" fmla="*/ 952 w 1249"/>
                <a:gd name="T23" fmla="*/ 199 h 426"/>
                <a:gd name="T24" fmla="*/ 721 w 1249"/>
                <a:gd name="T25" fmla="*/ 209 h 426"/>
                <a:gd name="T26" fmla="*/ 718 w 1249"/>
                <a:gd name="T27" fmla="*/ 224 h 426"/>
                <a:gd name="T28" fmla="*/ 714 w 1249"/>
                <a:gd name="T29" fmla="*/ 240 h 426"/>
                <a:gd name="T30" fmla="*/ 711 w 1249"/>
                <a:gd name="T31" fmla="*/ 254 h 426"/>
                <a:gd name="T32" fmla="*/ 708 w 1249"/>
                <a:gd name="T33" fmla="*/ 269 h 426"/>
                <a:gd name="T34" fmla="*/ 155 w 1249"/>
                <a:gd name="T35" fmla="*/ 426 h 426"/>
                <a:gd name="T36" fmla="*/ 143 w 1249"/>
                <a:gd name="T37" fmla="*/ 419 h 426"/>
                <a:gd name="T38" fmla="*/ 131 w 1249"/>
                <a:gd name="T39" fmla="*/ 413 h 426"/>
                <a:gd name="T40" fmla="*/ 119 w 1249"/>
                <a:gd name="T41" fmla="*/ 406 h 426"/>
                <a:gd name="T42" fmla="*/ 107 w 1249"/>
                <a:gd name="T43" fmla="*/ 400 h 426"/>
                <a:gd name="T44" fmla="*/ 80 w 1249"/>
                <a:gd name="T45" fmla="*/ 387 h 426"/>
                <a:gd name="T46" fmla="*/ 54 w 1249"/>
                <a:gd name="T47" fmla="*/ 376 h 426"/>
                <a:gd name="T48" fmla="*/ 27 w 1249"/>
                <a:gd name="T49" fmla="*/ 366 h 426"/>
                <a:gd name="T50" fmla="*/ 0 w 1249"/>
                <a:gd name="T51" fmla="*/ 35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9" h="426">
                  <a:moveTo>
                    <a:pt x="0" y="356"/>
                  </a:moveTo>
                  <a:lnTo>
                    <a:pt x="1249" y="0"/>
                  </a:lnTo>
                  <a:lnTo>
                    <a:pt x="1249" y="2"/>
                  </a:lnTo>
                  <a:lnTo>
                    <a:pt x="1248" y="17"/>
                  </a:lnTo>
                  <a:lnTo>
                    <a:pt x="1245" y="33"/>
                  </a:lnTo>
                  <a:lnTo>
                    <a:pt x="1241" y="48"/>
                  </a:lnTo>
                  <a:lnTo>
                    <a:pt x="1237" y="64"/>
                  </a:lnTo>
                  <a:lnTo>
                    <a:pt x="1232" y="81"/>
                  </a:lnTo>
                  <a:lnTo>
                    <a:pt x="1224" y="97"/>
                  </a:lnTo>
                  <a:lnTo>
                    <a:pt x="1216" y="112"/>
                  </a:lnTo>
                  <a:lnTo>
                    <a:pt x="1206" y="126"/>
                  </a:lnTo>
                  <a:lnTo>
                    <a:pt x="952" y="199"/>
                  </a:lnTo>
                  <a:lnTo>
                    <a:pt x="721" y="209"/>
                  </a:lnTo>
                  <a:lnTo>
                    <a:pt x="718" y="224"/>
                  </a:lnTo>
                  <a:lnTo>
                    <a:pt x="714" y="240"/>
                  </a:lnTo>
                  <a:lnTo>
                    <a:pt x="711" y="254"/>
                  </a:lnTo>
                  <a:lnTo>
                    <a:pt x="708" y="269"/>
                  </a:lnTo>
                  <a:lnTo>
                    <a:pt x="155" y="426"/>
                  </a:lnTo>
                  <a:lnTo>
                    <a:pt x="143" y="419"/>
                  </a:lnTo>
                  <a:lnTo>
                    <a:pt x="131" y="413"/>
                  </a:lnTo>
                  <a:lnTo>
                    <a:pt x="119" y="406"/>
                  </a:lnTo>
                  <a:lnTo>
                    <a:pt x="107" y="400"/>
                  </a:lnTo>
                  <a:lnTo>
                    <a:pt x="80" y="387"/>
                  </a:lnTo>
                  <a:lnTo>
                    <a:pt x="54" y="376"/>
                  </a:lnTo>
                  <a:lnTo>
                    <a:pt x="27" y="366"/>
                  </a:lnTo>
                  <a:lnTo>
                    <a:pt x="0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60"/>
            <p:cNvSpPr>
              <a:spLocks/>
            </p:cNvSpPr>
            <p:nvPr/>
          </p:nvSpPr>
          <p:spPr bwMode="auto">
            <a:xfrm>
              <a:off x="4681539" y="1895475"/>
              <a:ext cx="458788" cy="160338"/>
            </a:xfrm>
            <a:custGeom>
              <a:avLst/>
              <a:gdLst>
                <a:gd name="T0" fmla="*/ 0 w 1154"/>
                <a:gd name="T1" fmla="*/ 329 h 406"/>
                <a:gd name="T2" fmla="*/ 1154 w 1154"/>
                <a:gd name="T3" fmla="*/ 0 h 406"/>
                <a:gd name="T4" fmla="*/ 1151 w 1154"/>
                <a:gd name="T5" fmla="*/ 12 h 406"/>
                <a:gd name="T6" fmla="*/ 1146 w 1154"/>
                <a:gd name="T7" fmla="*/ 25 h 406"/>
                <a:gd name="T8" fmla="*/ 1140 w 1154"/>
                <a:gd name="T9" fmla="*/ 37 h 406"/>
                <a:gd name="T10" fmla="*/ 1134 w 1154"/>
                <a:gd name="T11" fmla="*/ 49 h 406"/>
                <a:gd name="T12" fmla="*/ 1126 w 1154"/>
                <a:gd name="T13" fmla="*/ 60 h 406"/>
                <a:gd name="T14" fmla="*/ 1118 w 1154"/>
                <a:gd name="T15" fmla="*/ 71 h 406"/>
                <a:gd name="T16" fmla="*/ 1109 w 1154"/>
                <a:gd name="T17" fmla="*/ 82 h 406"/>
                <a:gd name="T18" fmla="*/ 1098 w 1154"/>
                <a:gd name="T19" fmla="*/ 92 h 406"/>
                <a:gd name="T20" fmla="*/ 1087 w 1154"/>
                <a:gd name="T21" fmla="*/ 100 h 406"/>
                <a:gd name="T22" fmla="*/ 1075 w 1154"/>
                <a:gd name="T23" fmla="*/ 109 h 406"/>
                <a:gd name="T24" fmla="*/ 1061 w 1154"/>
                <a:gd name="T25" fmla="*/ 116 h 406"/>
                <a:gd name="T26" fmla="*/ 1047 w 1154"/>
                <a:gd name="T27" fmla="*/ 122 h 406"/>
                <a:gd name="T28" fmla="*/ 1030 w 1154"/>
                <a:gd name="T29" fmla="*/ 127 h 406"/>
                <a:gd name="T30" fmla="*/ 1012 w 1154"/>
                <a:gd name="T31" fmla="*/ 130 h 406"/>
                <a:gd name="T32" fmla="*/ 994 w 1154"/>
                <a:gd name="T33" fmla="*/ 134 h 406"/>
                <a:gd name="T34" fmla="*/ 973 w 1154"/>
                <a:gd name="T35" fmla="*/ 135 h 406"/>
                <a:gd name="T36" fmla="*/ 637 w 1154"/>
                <a:gd name="T37" fmla="*/ 149 h 406"/>
                <a:gd name="T38" fmla="*/ 630 w 1154"/>
                <a:gd name="T39" fmla="*/ 182 h 406"/>
                <a:gd name="T40" fmla="*/ 623 w 1154"/>
                <a:gd name="T41" fmla="*/ 213 h 406"/>
                <a:gd name="T42" fmla="*/ 616 w 1154"/>
                <a:gd name="T43" fmla="*/ 242 h 406"/>
                <a:gd name="T44" fmla="*/ 610 w 1154"/>
                <a:gd name="T45" fmla="*/ 270 h 406"/>
                <a:gd name="T46" fmla="*/ 135 w 1154"/>
                <a:gd name="T47" fmla="*/ 406 h 406"/>
                <a:gd name="T48" fmla="*/ 108 w 1154"/>
                <a:gd name="T49" fmla="*/ 388 h 406"/>
                <a:gd name="T50" fmla="*/ 81 w 1154"/>
                <a:gd name="T51" fmla="*/ 372 h 406"/>
                <a:gd name="T52" fmla="*/ 52 w 1154"/>
                <a:gd name="T53" fmla="*/ 356 h 406"/>
                <a:gd name="T54" fmla="*/ 23 w 1154"/>
                <a:gd name="T55" fmla="*/ 340 h 406"/>
                <a:gd name="T56" fmla="*/ 12 w 1154"/>
                <a:gd name="T57" fmla="*/ 335 h 406"/>
                <a:gd name="T58" fmla="*/ 0 w 1154"/>
                <a:gd name="T59" fmla="*/ 329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4" h="406">
                  <a:moveTo>
                    <a:pt x="0" y="329"/>
                  </a:moveTo>
                  <a:lnTo>
                    <a:pt x="1154" y="0"/>
                  </a:lnTo>
                  <a:lnTo>
                    <a:pt x="1151" y="12"/>
                  </a:lnTo>
                  <a:lnTo>
                    <a:pt x="1146" y="25"/>
                  </a:lnTo>
                  <a:lnTo>
                    <a:pt x="1140" y="37"/>
                  </a:lnTo>
                  <a:lnTo>
                    <a:pt x="1134" y="49"/>
                  </a:lnTo>
                  <a:lnTo>
                    <a:pt x="1126" y="60"/>
                  </a:lnTo>
                  <a:lnTo>
                    <a:pt x="1118" y="71"/>
                  </a:lnTo>
                  <a:lnTo>
                    <a:pt x="1109" y="82"/>
                  </a:lnTo>
                  <a:lnTo>
                    <a:pt x="1098" y="92"/>
                  </a:lnTo>
                  <a:lnTo>
                    <a:pt x="1087" y="100"/>
                  </a:lnTo>
                  <a:lnTo>
                    <a:pt x="1075" y="109"/>
                  </a:lnTo>
                  <a:lnTo>
                    <a:pt x="1061" y="116"/>
                  </a:lnTo>
                  <a:lnTo>
                    <a:pt x="1047" y="122"/>
                  </a:lnTo>
                  <a:lnTo>
                    <a:pt x="1030" y="127"/>
                  </a:lnTo>
                  <a:lnTo>
                    <a:pt x="1012" y="130"/>
                  </a:lnTo>
                  <a:lnTo>
                    <a:pt x="994" y="134"/>
                  </a:lnTo>
                  <a:lnTo>
                    <a:pt x="973" y="135"/>
                  </a:lnTo>
                  <a:lnTo>
                    <a:pt x="637" y="149"/>
                  </a:lnTo>
                  <a:lnTo>
                    <a:pt x="630" y="182"/>
                  </a:lnTo>
                  <a:lnTo>
                    <a:pt x="623" y="213"/>
                  </a:lnTo>
                  <a:lnTo>
                    <a:pt x="616" y="242"/>
                  </a:lnTo>
                  <a:lnTo>
                    <a:pt x="610" y="270"/>
                  </a:lnTo>
                  <a:lnTo>
                    <a:pt x="135" y="406"/>
                  </a:lnTo>
                  <a:lnTo>
                    <a:pt x="108" y="388"/>
                  </a:lnTo>
                  <a:lnTo>
                    <a:pt x="81" y="372"/>
                  </a:lnTo>
                  <a:lnTo>
                    <a:pt x="52" y="356"/>
                  </a:lnTo>
                  <a:lnTo>
                    <a:pt x="23" y="340"/>
                  </a:lnTo>
                  <a:lnTo>
                    <a:pt x="12" y="335"/>
                  </a:lnTo>
                  <a:lnTo>
                    <a:pt x="0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361"/>
            <p:cNvSpPr>
              <a:spLocks noEditPoints="1"/>
            </p:cNvSpPr>
            <p:nvPr/>
          </p:nvSpPr>
          <p:spPr bwMode="auto">
            <a:xfrm>
              <a:off x="4710114" y="1920875"/>
              <a:ext cx="417513" cy="152400"/>
            </a:xfrm>
            <a:custGeom>
              <a:avLst/>
              <a:gdLst>
                <a:gd name="T0" fmla="*/ 0 w 1051"/>
                <a:gd name="T1" fmla="*/ 300 h 380"/>
                <a:gd name="T2" fmla="*/ 553 w 1051"/>
                <a:gd name="T3" fmla="*/ 143 h 380"/>
                <a:gd name="T4" fmla="*/ 545 w 1051"/>
                <a:gd name="T5" fmla="*/ 176 h 380"/>
                <a:gd name="T6" fmla="*/ 538 w 1051"/>
                <a:gd name="T7" fmla="*/ 208 h 380"/>
                <a:gd name="T8" fmla="*/ 531 w 1051"/>
                <a:gd name="T9" fmla="*/ 237 h 380"/>
                <a:gd name="T10" fmla="*/ 525 w 1051"/>
                <a:gd name="T11" fmla="*/ 264 h 380"/>
                <a:gd name="T12" fmla="*/ 120 w 1051"/>
                <a:gd name="T13" fmla="*/ 380 h 380"/>
                <a:gd name="T14" fmla="*/ 92 w 1051"/>
                <a:gd name="T15" fmla="*/ 360 h 380"/>
                <a:gd name="T16" fmla="*/ 63 w 1051"/>
                <a:gd name="T17" fmla="*/ 340 h 380"/>
                <a:gd name="T18" fmla="*/ 32 w 1051"/>
                <a:gd name="T19" fmla="*/ 319 h 380"/>
                <a:gd name="T20" fmla="*/ 0 w 1051"/>
                <a:gd name="T21" fmla="*/ 300 h 380"/>
                <a:gd name="T22" fmla="*/ 797 w 1051"/>
                <a:gd name="T23" fmla="*/ 73 h 380"/>
                <a:gd name="T24" fmla="*/ 1051 w 1051"/>
                <a:gd name="T25" fmla="*/ 0 h 380"/>
                <a:gd name="T26" fmla="*/ 1039 w 1051"/>
                <a:gd name="T27" fmla="*/ 14 h 380"/>
                <a:gd name="T28" fmla="*/ 1026 w 1051"/>
                <a:gd name="T29" fmla="*/ 27 h 380"/>
                <a:gd name="T30" fmla="*/ 1019 w 1051"/>
                <a:gd name="T31" fmla="*/ 33 h 380"/>
                <a:gd name="T32" fmla="*/ 1011 w 1051"/>
                <a:gd name="T33" fmla="*/ 38 h 380"/>
                <a:gd name="T34" fmla="*/ 1002 w 1051"/>
                <a:gd name="T35" fmla="*/ 44 h 380"/>
                <a:gd name="T36" fmla="*/ 994 w 1051"/>
                <a:gd name="T37" fmla="*/ 48 h 380"/>
                <a:gd name="T38" fmla="*/ 984 w 1051"/>
                <a:gd name="T39" fmla="*/ 52 h 380"/>
                <a:gd name="T40" fmla="*/ 975 w 1051"/>
                <a:gd name="T41" fmla="*/ 57 h 380"/>
                <a:gd name="T42" fmla="*/ 964 w 1051"/>
                <a:gd name="T43" fmla="*/ 60 h 380"/>
                <a:gd name="T44" fmla="*/ 953 w 1051"/>
                <a:gd name="T45" fmla="*/ 62 h 380"/>
                <a:gd name="T46" fmla="*/ 941 w 1051"/>
                <a:gd name="T47" fmla="*/ 64 h 380"/>
                <a:gd name="T48" fmla="*/ 928 w 1051"/>
                <a:gd name="T49" fmla="*/ 66 h 380"/>
                <a:gd name="T50" fmla="*/ 916 w 1051"/>
                <a:gd name="T51" fmla="*/ 68 h 380"/>
                <a:gd name="T52" fmla="*/ 902 w 1051"/>
                <a:gd name="T53" fmla="*/ 69 h 380"/>
                <a:gd name="T54" fmla="*/ 797 w 1051"/>
                <a:gd name="T55" fmla="*/ 7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51" h="380">
                  <a:moveTo>
                    <a:pt x="0" y="300"/>
                  </a:moveTo>
                  <a:lnTo>
                    <a:pt x="553" y="143"/>
                  </a:lnTo>
                  <a:lnTo>
                    <a:pt x="545" y="176"/>
                  </a:lnTo>
                  <a:lnTo>
                    <a:pt x="538" y="208"/>
                  </a:lnTo>
                  <a:lnTo>
                    <a:pt x="531" y="237"/>
                  </a:lnTo>
                  <a:lnTo>
                    <a:pt x="525" y="264"/>
                  </a:lnTo>
                  <a:lnTo>
                    <a:pt x="120" y="380"/>
                  </a:lnTo>
                  <a:lnTo>
                    <a:pt x="92" y="360"/>
                  </a:lnTo>
                  <a:lnTo>
                    <a:pt x="63" y="340"/>
                  </a:lnTo>
                  <a:lnTo>
                    <a:pt x="32" y="319"/>
                  </a:lnTo>
                  <a:lnTo>
                    <a:pt x="0" y="300"/>
                  </a:lnTo>
                  <a:close/>
                  <a:moveTo>
                    <a:pt x="797" y="73"/>
                  </a:moveTo>
                  <a:lnTo>
                    <a:pt x="1051" y="0"/>
                  </a:lnTo>
                  <a:lnTo>
                    <a:pt x="1039" y="14"/>
                  </a:lnTo>
                  <a:lnTo>
                    <a:pt x="1026" y="27"/>
                  </a:lnTo>
                  <a:lnTo>
                    <a:pt x="1019" y="33"/>
                  </a:lnTo>
                  <a:lnTo>
                    <a:pt x="1011" y="38"/>
                  </a:lnTo>
                  <a:lnTo>
                    <a:pt x="1002" y="44"/>
                  </a:lnTo>
                  <a:lnTo>
                    <a:pt x="994" y="48"/>
                  </a:lnTo>
                  <a:lnTo>
                    <a:pt x="984" y="52"/>
                  </a:lnTo>
                  <a:lnTo>
                    <a:pt x="975" y="57"/>
                  </a:lnTo>
                  <a:lnTo>
                    <a:pt x="964" y="60"/>
                  </a:lnTo>
                  <a:lnTo>
                    <a:pt x="953" y="62"/>
                  </a:lnTo>
                  <a:lnTo>
                    <a:pt x="941" y="64"/>
                  </a:lnTo>
                  <a:lnTo>
                    <a:pt x="928" y="66"/>
                  </a:lnTo>
                  <a:lnTo>
                    <a:pt x="916" y="68"/>
                  </a:lnTo>
                  <a:lnTo>
                    <a:pt x="902" y="69"/>
                  </a:lnTo>
                  <a:lnTo>
                    <a:pt x="79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62"/>
            <p:cNvSpPr>
              <a:spLocks/>
            </p:cNvSpPr>
            <p:nvPr/>
          </p:nvSpPr>
          <p:spPr bwMode="auto">
            <a:xfrm>
              <a:off x="4735514" y="2003425"/>
              <a:ext cx="188913" cy="85725"/>
            </a:xfrm>
            <a:custGeom>
              <a:avLst/>
              <a:gdLst>
                <a:gd name="T0" fmla="*/ 0 w 475"/>
                <a:gd name="T1" fmla="*/ 136 h 219"/>
                <a:gd name="T2" fmla="*/ 475 w 475"/>
                <a:gd name="T3" fmla="*/ 0 h 219"/>
                <a:gd name="T4" fmla="*/ 467 w 475"/>
                <a:gd name="T5" fmla="*/ 35 h 219"/>
                <a:gd name="T6" fmla="*/ 460 w 475"/>
                <a:gd name="T7" fmla="*/ 66 h 219"/>
                <a:gd name="T8" fmla="*/ 452 w 475"/>
                <a:gd name="T9" fmla="*/ 96 h 219"/>
                <a:gd name="T10" fmla="*/ 446 w 475"/>
                <a:gd name="T11" fmla="*/ 122 h 219"/>
                <a:gd name="T12" fmla="*/ 106 w 475"/>
                <a:gd name="T13" fmla="*/ 219 h 219"/>
                <a:gd name="T14" fmla="*/ 81 w 475"/>
                <a:gd name="T15" fmla="*/ 197 h 219"/>
                <a:gd name="T16" fmla="*/ 54 w 475"/>
                <a:gd name="T17" fmla="*/ 176 h 219"/>
                <a:gd name="T18" fmla="*/ 28 w 475"/>
                <a:gd name="T19" fmla="*/ 155 h 219"/>
                <a:gd name="T20" fmla="*/ 0 w 475"/>
                <a:gd name="T21" fmla="*/ 13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5" h="219">
                  <a:moveTo>
                    <a:pt x="0" y="136"/>
                  </a:moveTo>
                  <a:lnTo>
                    <a:pt x="475" y="0"/>
                  </a:lnTo>
                  <a:lnTo>
                    <a:pt x="467" y="35"/>
                  </a:lnTo>
                  <a:lnTo>
                    <a:pt x="460" y="66"/>
                  </a:lnTo>
                  <a:lnTo>
                    <a:pt x="452" y="96"/>
                  </a:lnTo>
                  <a:lnTo>
                    <a:pt x="446" y="122"/>
                  </a:lnTo>
                  <a:lnTo>
                    <a:pt x="106" y="219"/>
                  </a:lnTo>
                  <a:lnTo>
                    <a:pt x="81" y="197"/>
                  </a:lnTo>
                  <a:lnTo>
                    <a:pt x="54" y="176"/>
                  </a:lnTo>
                  <a:lnTo>
                    <a:pt x="28" y="155"/>
                  </a:lnTo>
                  <a:lnTo>
                    <a:pt x="0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63"/>
            <p:cNvSpPr>
              <a:spLocks/>
            </p:cNvSpPr>
            <p:nvPr/>
          </p:nvSpPr>
          <p:spPr bwMode="auto">
            <a:xfrm>
              <a:off x="4757739" y="2027238"/>
              <a:ext cx="160338" cy="79375"/>
            </a:xfrm>
            <a:custGeom>
              <a:avLst/>
              <a:gdLst>
                <a:gd name="T0" fmla="*/ 0 w 405"/>
                <a:gd name="T1" fmla="*/ 116 h 203"/>
                <a:gd name="T2" fmla="*/ 405 w 405"/>
                <a:gd name="T3" fmla="*/ 0 h 203"/>
                <a:gd name="T4" fmla="*/ 396 w 405"/>
                <a:gd name="T5" fmla="*/ 37 h 203"/>
                <a:gd name="T6" fmla="*/ 389 w 405"/>
                <a:gd name="T7" fmla="*/ 69 h 203"/>
                <a:gd name="T8" fmla="*/ 382 w 405"/>
                <a:gd name="T9" fmla="*/ 97 h 203"/>
                <a:gd name="T10" fmla="*/ 376 w 405"/>
                <a:gd name="T11" fmla="*/ 123 h 203"/>
                <a:gd name="T12" fmla="*/ 96 w 405"/>
                <a:gd name="T13" fmla="*/ 203 h 203"/>
                <a:gd name="T14" fmla="*/ 74 w 405"/>
                <a:gd name="T15" fmla="*/ 181 h 203"/>
                <a:gd name="T16" fmla="*/ 50 w 405"/>
                <a:gd name="T17" fmla="*/ 158 h 203"/>
                <a:gd name="T18" fmla="*/ 25 w 405"/>
                <a:gd name="T19" fmla="*/ 137 h 203"/>
                <a:gd name="T20" fmla="*/ 0 w 405"/>
                <a:gd name="T21" fmla="*/ 11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5" h="203">
                  <a:moveTo>
                    <a:pt x="0" y="116"/>
                  </a:moveTo>
                  <a:lnTo>
                    <a:pt x="405" y="0"/>
                  </a:lnTo>
                  <a:lnTo>
                    <a:pt x="396" y="37"/>
                  </a:lnTo>
                  <a:lnTo>
                    <a:pt x="389" y="69"/>
                  </a:lnTo>
                  <a:lnTo>
                    <a:pt x="382" y="97"/>
                  </a:lnTo>
                  <a:lnTo>
                    <a:pt x="376" y="123"/>
                  </a:lnTo>
                  <a:lnTo>
                    <a:pt x="96" y="203"/>
                  </a:lnTo>
                  <a:lnTo>
                    <a:pt x="74" y="181"/>
                  </a:lnTo>
                  <a:lnTo>
                    <a:pt x="50" y="158"/>
                  </a:lnTo>
                  <a:lnTo>
                    <a:pt x="25" y="137"/>
                  </a:lnTo>
                  <a:lnTo>
                    <a:pt x="0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64"/>
            <p:cNvSpPr>
              <a:spLocks/>
            </p:cNvSpPr>
            <p:nvPr/>
          </p:nvSpPr>
          <p:spPr bwMode="auto">
            <a:xfrm>
              <a:off x="4778376" y="2051050"/>
              <a:ext cx="133350" cy="73025"/>
            </a:xfrm>
            <a:custGeom>
              <a:avLst/>
              <a:gdLst>
                <a:gd name="T0" fmla="*/ 0 w 340"/>
                <a:gd name="T1" fmla="*/ 97 h 186"/>
                <a:gd name="T2" fmla="*/ 340 w 340"/>
                <a:gd name="T3" fmla="*/ 0 h 186"/>
                <a:gd name="T4" fmla="*/ 331 w 340"/>
                <a:gd name="T5" fmla="*/ 37 h 186"/>
                <a:gd name="T6" fmla="*/ 324 w 340"/>
                <a:gd name="T7" fmla="*/ 71 h 186"/>
                <a:gd name="T8" fmla="*/ 317 w 340"/>
                <a:gd name="T9" fmla="*/ 99 h 186"/>
                <a:gd name="T10" fmla="*/ 313 w 340"/>
                <a:gd name="T11" fmla="*/ 122 h 186"/>
                <a:gd name="T12" fmla="*/ 89 w 340"/>
                <a:gd name="T13" fmla="*/ 186 h 186"/>
                <a:gd name="T14" fmla="*/ 68 w 340"/>
                <a:gd name="T15" fmla="*/ 163 h 186"/>
                <a:gd name="T16" fmla="*/ 46 w 340"/>
                <a:gd name="T17" fmla="*/ 141 h 186"/>
                <a:gd name="T18" fmla="*/ 24 w 340"/>
                <a:gd name="T19" fmla="*/ 118 h 186"/>
                <a:gd name="T20" fmla="*/ 0 w 340"/>
                <a:gd name="T21" fmla="*/ 9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186">
                  <a:moveTo>
                    <a:pt x="0" y="97"/>
                  </a:moveTo>
                  <a:lnTo>
                    <a:pt x="340" y="0"/>
                  </a:lnTo>
                  <a:lnTo>
                    <a:pt x="331" y="37"/>
                  </a:lnTo>
                  <a:lnTo>
                    <a:pt x="324" y="71"/>
                  </a:lnTo>
                  <a:lnTo>
                    <a:pt x="317" y="99"/>
                  </a:lnTo>
                  <a:lnTo>
                    <a:pt x="313" y="122"/>
                  </a:lnTo>
                  <a:lnTo>
                    <a:pt x="89" y="186"/>
                  </a:lnTo>
                  <a:lnTo>
                    <a:pt x="68" y="163"/>
                  </a:lnTo>
                  <a:lnTo>
                    <a:pt x="46" y="141"/>
                  </a:lnTo>
                  <a:lnTo>
                    <a:pt x="24" y="118"/>
                  </a:lnTo>
                  <a:lnTo>
                    <a:pt x="0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65"/>
            <p:cNvSpPr>
              <a:spLocks/>
            </p:cNvSpPr>
            <p:nvPr/>
          </p:nvSpPr>
          <p:spPr bwMode="auto">
            <a:xfrm>
              <a:off x="4795839" y="2074863"/>
              <a:ext cx="111125" cy="68263"/>
            </a:xfrm>
            <a:custGeom>
              <a:avLst/>
              <a:gdLst>
                <a:gd name="T0" fmla="*/ 0 w 280"/>
                <a:gd name="T1" fmla="*/ 80 h 171"/>
                <a:gd name="T2" fmla="*/ 280 w 280"/>
                <a:gd name="T3" fmla="*/ 0 h 171"/>
                <a:gd name="T4" fmla="*/ 271 w 280"/>
                <a:gd name="T5" fmla="*/ 40 h 171"/>
                <a:gd name="T6" fmla="*/ 265 w 280"/>
                <a:gd name="T7" fmla="*/ 71 h 171"/>
                <a:gd name="T8" fmla="*/ 261 w 280"/>
                <a:gd name="T9" fmla="*/ 98 h 171"/>
                <a:gd name="T10" fmla="*/ 258 w 280"/>
                <a:gd name="T11" fmla="*/ 120 h 171"/>
                <a:gd name="T12" fmla="*/ 84 w 280"/>
                <a:gd name="T13" fmla="*/ 171 h 171"/>
                <a:gd name="T14" fmla="*/ 64 w 280"/>
                <a:gd name="T15" fmla="*/ 147 h 171"/>
                <a:gd name="T16" fmla="*/ 43 w 280"/>
                <a:gd name="T17" fmla="*/ 124 h 171"/>
                <a:gd name="T18" fmla="*/ 22 w 280"/>
                <a:gd name="T19" fmla="*/ 102 h 171"/>
                <a:gd name="T20" fmla="*/ 0 w 280"/>
                <a:gd name="T21" fmla="*/ 8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71">
                  <a:moveTo>
                    <a:pt x="0" y="80"/>
                  </a:moveTo>
                  <a:lnTo>
                    <a:pt x="280" y="0"/>
                  </a:lnTo>
                  <a:lnTo>
                    <a:pt x="271" y="40"/>
                  </a:lnTo>
                  <a:lnTo>
                    <a:pt x="265" y="71"/>
                  </a:lnTo>
                  <a:lnTo>
                    <a:pt x="261" y="98"/>
                  </a:lnTo>
                  <a:lnTo>
                    <a:pt x="258" y="120"/>
                  </a:lnTo>
                  <a:lnTo>
                    <a:pt x="84" y="171"/>
                  </a:lnTo>
                  <a:lnTo>
                    <a:pt x="64" y="147"/>
                  </a:lnTo>
                  <a:lnTo>
                    <a:pt x="43" y="124"/>
                  </a:lnTo>
                  <a:lnTo>
                    <a:pt x="22" y="102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366"/>
            <p:cNvSpPr>
              <a:spLocks/>
            </p:cNvSpPr>
            <p:nvPr/>
          </p:nvSpPr>
          <p:spPr bwMode="auto">
            <a:xfrm>
              <a:off x="4813301" y="2100263"/>
              <a:ext cx="88900" cy="60325"/>
            </a:xfrm>
            <a:custGeom>
              <a:avLst/>
              <a:gdLst>
                <a:gd name="T0" fmla="*/ 0 w 224"/>
                <a:gd name="T1" fmla="*/ 64 h 155"/>
                <a:gd name="T2" fmla="*/ 224 w 224"/>
                <a:gd name="T3" fmla="*/ 0 h 155"/>
                <a:gd name="T4" fmla="*/ 220 w 224"/>
                <a:gd name="T5" fmla="*/ 19 h 155"/>
                <a:gd name="T6" fmla="*/ 218 w 224"/>
                <a:gd name="T7" fmla="*/ 35 h 155"/>
                <a:gd name="T8" fmla="*/ 217 w 224"/>
                <a:gd name="T9" fmla="*/ 49 h 155"/>
                <a:gd name="T10" fmla="*/ 215 w 224"/>
                <a:gd name="T11" fmla="*/ 63 h 155"/>
                <a:gd name="T12" fmla="*/ 215 w 224"/>
                <a:gd name="T13" fmla="*/ 76 h 155"/>
                <a:gd name="T14" fmla="*/ 215 w 224"/>
                <a:gd name="T15" fmla="*/ 88 h 155"/>
                <a:gd name="T16" fmla="*/ 218 w 224"/>
                <a:gd name="T17" fmla="*/ 101 h 155"/>
                <a:gd name="T18" fmla="*/ 219 w 224"/>
                <a:gd name="T19" fmla="*/ 115 h 155"/>
                <a:gd name="T20" fmla="*/ 80 w 224"/>
                <a:gd name="T21" fmla="*/ 155 h 155"/>
                <a:gd name="T22" fmla="*/ 61 w 224"/>
                <a:gd name="T23" fmla="*/ 131 h 155"/>
                <a:gd name="T24" fmla="*/ 40 w 224"/>
                <a:gd name="T25" fmla="*/ 109 h 155"/>
                <a:gd name="T26" fmla="*/ 21 w 224"/>
                <a:gd name="T27" fmla="*/ 86 h 155"/>
                <a:gd name="T28" fmla="*/ 0 w 224"/>
                <a:gd name="T29" fmla="*/ 6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4" h="155">
                  <a:moveTo>
                    <a:pt x="0" y="64"/>
                  </a:moveTo>
                  <a:lnTo>
                    <a:pt x="224" y="0"/>
                  </a:lnTo>
                  <a:lnTo>
                    <a:pt x="220" y="19"/>
                  </a:lnTo>
                  <a:lnTo>
                    <a:pt x="218" y="35"/>
                  </a:lnTo>
                  <a:lnTo>
                    <a:pt x="217" y="49"/>
                  </a:lnTo>
                  <a:lnTo>
                    <a:pt x="215" y="63"/>
                  </a:lnTo>
                  <a:lnTo>
                    <a:pt x="215" y="76"/>
                  </a:lnTo>
                  <a:lnTo>
                    <a:pt x="215" y="88"/>
                  </a:lnTo>
                  <a:lnTo>
                    <a:pt x="218" y="101"/>
                  </a:lnTo>
                  <a:lnTo>
                    <a:pt x="219" y="115"/>
                  </a:lnTo>
                  <a:lnTo>
                    <a:pt x="80" y="155"/>
                  </a:lnTo>
                  <a:lnTo>
                    <a:pt x="61" y="131"/>
                  </a:lnTo>
                  <a:lnTo>
                    <a:pt x="40" y="109"/>
                  </a:lnTo>
                  <a:lnTo>
                    <a:pt x="21" y="86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367"/>
            <p:cNvSpPr>
              <a:spLocks/>
            </p:cNvSpPr>
            <p:nvPr/>
          </p:nvSpPr>
          <p:spPr bwMode="auto">
            <a:xfrm>
              <a:off x="4829176" y="2122488"/>
              <a:ext cx="74613" cy="57150"/>
            </a:xfrm>
            <a:custGeom>
              <a:avLst/>
              <a:gdLst>
                <a:gd name="T0" fmla="*/ 0 w 188"/>
                <a:gd name="T1" fmla="*/ 51 h 142"/>
                <a:gd name="T2" fmla="*/ 174 w 188"/>
                <a:gd name="T3" fmla="*/ 0 h 142"/>
                <a:gd name="T4" fmla="*/ 174 w 188"/>
                <a:gd name="T5" fmla="*/ 13 h 142"/>
                <a:gd name="T6" fmla="*/ 174 w 188"/>
                <a:gd name="T7" fmla="*/ 25 h 142"/>
                <a:gd name="T8" fmla="*/ 176 w 188"/>
                <a:gd name="T9" fmla="*/ 37 h 142"/>
                <a:gd name="T10" fmla="*/ 177 w 188"/>
                <a:gd name="T11" fmla="*/ 50 h 142"/>
                <a:gd name="T12" fmla="*/ 182 w 188"/>
                <a:gd name="T13" fmla="*/ 77 h 142"/>
                <a:gd name="T14" fmla="*/ 188 w 188"/>
                <a:gd name="T15" fmla="*/ 111 h 142"/>
                <a:gd name="T16" fmla="*/ 78 w 188"/>
                <a:gd name="T17" fmla="*/ 142 h 142"/>
                <a:gd name="T18" fmla="*/ 57 w 188"/>
                <a:gd name="T19" fmla="*/ 119 h 142"/>
                <a:gd name="T20" fmla="*/ 39 w 188"/>
                <a:gd name="T21" fmla="*/ 95 h 142"/>
                <a:gd name="T22" fmla="*/ 20 w 188"/>
                <a:gd name="T23" fmla="*/ 72 h 142"/>
                <a:gd name="T24" fmla="*/ 0 w 188"/>
                <a:gd name="T25" fmla="*/ 5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8" h="142">
                  <a:moveTo>
                    <a:pt x="0" y="51"/>
                  </a:moveTo>
                  <a:lnTo>
                    <a:pt x="174" y="0"/>
                  </a:lnTo>
                  <a:lnTo>
                    <a:pt x="174" y="13"/>
                  </a:lnTo>
                  <a:lnTo>
                    <a:pt x="174" y="25"/>
                  </a:lnTo>
                  <a:lnTo>
                    <a:pt x="176" y="37"/>
                  </a:lnTo>
                  <a:lnTo>
                    <a:pt x="177" y="50"/>
                  </a:lnTo>
                  <a:lnTo>
                    <a:pt x="182" y="77"/>
                  </a:lnTo>
                  <a:lnTo>
                    <a:pt x="188" y="111"/>
                  </a:lnTo>
                  <a:lnTo>
                    <a:pt x="78" y="142"/>
                  </a:lnTo>
                  <a:lnTo>
                    <a:pt x="57" y="119"/>
                  </a:lnTo>
                  <a:lnTo>
                    <a:pt x="39" y="95"/>
                  </a:lnTo>
                  <a:lnTo>
                    <a:pt x="20" y="72"/>
                  </a:lnTo>
                  <a:lnTo>
                    <a:pt x="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368"/>
            <p:cNvSpPr>
              <a:spLocks/>
            </p:cNvSpPr>
            <p:nvPr/>
          </p:nvSpPr>
          <p:spPr bwMode="auto">
            <a:xfrm>
              <a:off x="4845051" y="2144713"/>
              <a:ext cx="63500" cy="52388"/>
            </a:xfrm>
            <a:custGeom>
              <a:avLst/>
              <a:gdLst>
                <a:gd name="T0" fmla="*/ 0 w 161"/>
                <a:gd name="T1" fmla="*/ 40 h 133"/>
                <a:gd name="T2" fmla="*/ 139 w 161"/>
                <a:gd name="T3" fmla="*/ 0 h 133"/>
                <a:gd name="T4" fmla="*/ 143 w 161"/>
                <a:gd name="T5" fmla="*/ 22 h 133"/>
                <a:gd name="T6" fmla="*/ 148 w 161"/>
                <a:gd name="T7" fmla="*/ 45 h 133"/>
                <a:gd name="T8" fmla="*/ 154 w 161"/>
                <a:gd name="T9" fmla="*/ 75 h 133"/>
                <a:gd name="T10" fmla="*/ 161 w 161"/>
                <a:gd name="T11" fmla="*/ 109 h 133"/>
                <a:gd name="T12" fmla="*/ 76 w 161"/>
                <a:gd name="T13" fmla="*/ 133 h 133"/>
                <a:gd name="T14" fmla="*/ 57 w 161"/>
                <a:gd name="T15" fmla="*/ 109 h 133"/>
                <a:gd name="T16" fmla="*/ 38 w 161"/>
                <a:gd name="T17" fmla="*/ 85 h 133"/>
                <a:gd name="T18" fmla="*/ 18 w 161"/>
                <a:gd name="T19" fmla="*/ 63 h 133"/>
                <a:gd name="T20" fmla="*/ 0 w 161"/>
                <a:gd name="T21" fmla="*/ 4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" h="133">
                  <a:moveTo>
                    <a:pt x="0" y="40"/>
                  </a:moveTo>
                  <a:lnTo>
                    <a:pt x="139" y="0"/>
                  </a:lnTo>
                  <a:lnTo>
                    <a:pt x="143" y="22"/>
                  </a:lnTo>
                  <a:lnTo>
                    <a:pt x="148" y="45"/>
                  </a:lnTo>
                  <a:lnTo>
                    <a:pt x="154" y="75"/>
                  </a:lnTo>
                  <a:lnTo>
                    <a:pt x="161" y="109"/>
                  </a:lnTo>
                  <a:lnTo>
                    <a:pt x="76" y="133"/>
                  </a:lnTo>
                  <a:lnTo>
                    <a:pt x="57" y="109"/>
                  </a:lnTo>
                  <a:lnTo>
                    <a:pt x="38" y="85"/>
                  </a:lnTo>
                  <a:lnTo>
                    <a:pt x="18" y="63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69"/>
            <p:cNvSpPr>
              <a:spLocks/>
            </p:cNvSpPr>
            <p:nvPr/>
          </p:nvSpPr>
          <p:spPr bwMode="auto">
            <a:xfrm>
              <a:off x="4859339" y="2166938"/>
              <a:ext cx="52388" cy="49213"/>
            </a:xfrm>
            <a:custGeom>
              <a:avLst/>
              <a:gdLst>
                <a:gd name="T0" fmla="*/ 0 w 132"/>
                <a:gd name="T1" fmla="*/ 31 h 124"/>
                <a:gd name="T2" fmla="*/ 110 w 132"/>
                <a:gd name="T3" fmla="*/ 0 h 124"/>
                <a:gd name="T4" fmla="*/ 115 w 132"/>
                <a:gd name="T5" fmla="*/ 22 h 124"/>
                <a:gd name="T6" fmla="*/ 120 w 132"/>
                <a:gd name="T7" fmla="*/ 46 h 124"/>
                <a:gd name="T8" fmla="*/ 125 w 132"/>
                <a:gd name="T9" fmla="*/ 75 h 124"/>
                <a:gd name="T10" fmla="*/ 132 w 132"/>
                <a:gd name="T11" fmla="*/ 108 h 124"/>
                <a:gd name="T12" fmla="*/ 75 w 132"/>
                <a:gd name="T13" fmla="*/ 124 h 124"/>
                <a:gd name="T14" fmla="*/ 56 w 132"/>
                <a:gd name="T15" fmla="*/ 100 h 124"/>
                <a:gd name="T16" fmla="*/ 36 w 132"/>
                <a:gd name="T17" fmla="*/ 78 h 124"/>
                <a:gd name="T18" fmla="*/ 18 w 132"/>
                <a:gd name="T19" fmla="*/ 54 h 124"/>
                <a:gd name="T20" fmla="*/ 0 w 132"/>
                <a:gd name="T21" fmla="*/ 3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124">
                  <a:moveTo>
                    <a:pt x="0" y="31"/>
                  </a:moveTo>
                  <a:lnTo>
                    <a:pt x="110" y="0"/>
                  </a:lnTo>
                  <a:lnTo>
                    <a:pt x="115" y="22"/>
                  </a:lnTo>
                  <a:lnTo>
                    <a:pt x="120" y="46"/>
                  </a:lnTo>
                  <a:lnTo>
                    <a:pt x="125" y="75"/>
                  </a:lnTo>
                  <a:lnTo>
                    <a:pt x="132" y="108"/>
                  </a:lnTo>
                  <a:lnTo>
                    <a:pt x="75" y="124"/>
                  </a:lnTo>
                  <a:lnTo>
                    <a:pt x="56" y="100"/>
                  </a:lnTo>
                  <a:lnTo>
                    <a:pt x="36" y="78"/>
                  </a:lnTo>
                  <a:lnTo>
                    <a:pt x="18" y="54"/>
                  </a:ln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70"/>
            <p:cNvSpPr>
              <a:spLocks/>
            </p:cNvSpPr>
            <p:nvPr/>
          </p:nvSpPr>
          <p:spPr bwMode="auto">
            <a:xfrm>
              <a:off x="4875214" y="2187575"/>
              <a:ext cx="41275" cy="47625"/>
            </a:xfrm>
            <a:custGeom>
              <a:avLst/>
              <a:gdLst>
                <a:gd name="T0" fmla="*/ 0 w 105"/>
                <a:gd name="T1" fmla="*/ 24 h 116"/>
                <a:gd name="T2" fmla="*/ 85 w 105"/>
                <a:gd name="T3" fmla="*/ 0 h 116"/>
                <a:gd name="T4" fmla="*/ 90 w 105"/>
                <a:gd name="T5" fmla="*/ 23 h 116"/>
                <a:gd name="T6" fmla="*/ 94 w 105"/>
                <a:gd name="T7" fmla="*/ 48 h 116"/>
                <a:gd name="T8" fmla="*/ 99 w 105"/>
                <a:gd name="T9" fmla="*/ 77 h 116"/>
                <a:gd name="T10" fmla="*/ 105 w 105"/>
                <a:gd name="T11" fmla="*/ 109 h 116"/>
                <a:gd name="T12" fmla="*/ 76 w 105"/>
                <a:gd name="T13" fmla="*/ 116 h 116"/>
                <a:gd name="T14" fmla="*/ 56 w 105"/>
                <a:gd name="T15" fmla="*/ 92 h 116"/>
                <a:gd name="T16" fmla="*/ 37 w 105"/>
                <a:gd name="T17" fmla="*/ 70 h 116"/>
                <a:gd name="T18" fmla="*/ 19 w 105"/>
                <a:gd name="T19" fmla="*/ 46 h 116"/>
                <a:gd name="T20" fmla="*/ 0 w 105"/>
                <a:gd name="T21" fmla="*/ 2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116">
                  <a:moveTo>
                    <a:pt x="0" y="24"/>
                  </a:moveTo>
                  <a:lnTo>
                    <a:pt x="85" y="0"/>
                  </a:lnTo>
                  <a:lnTo>
                    <a:pt x="90" y="23"/>
                  </a:lnTo>
                  <a:lnTo>
                    <a:pt x="94" y="48"/>
                  </a:lnTo>
                  <a:lnTo>
                    <a:pt x="99" y="77"/>
                  </a:lnTo>
                  <a:lnTo>
                    <a:pt x="105" y="109"/>
                  </a:lnTo>
                  <a:lnTo>
                    <a:pt x="76" y="116"/>
                  </a:lnTo>
                  <a:lnTo>
                    <a:pt x="56" y="92"/>
                  </a:lnTo>
                  <a:lnTo>
                    <a:pt x="37" y="70"/>
                  </a:lnTo>
                  <a:lnTo>
                    <a:pt x="19" y="46"/>
                  </a:lnTo>
                  <a:lnTo>
                    <a:pt x="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71"/>
            <p:cNvSpPr>
              <a:spLocks/>
            </p:cNvSpPr>
            <p:nvPr/>
          </p:nvSpPr>
          <p:spPr bwMode="auto">
            <a:xfrm>
              <a:off x="4889501" y="2209800"/>
              <a:ext cx="30163" cy="42863"/>
            </a:xfrm>
            <a:custGeom>
              <a:avLst/>
              <a:gdLst>
                <a:gd name="T0" fmla="*/ 0 w 74"/>
                <a:gd name="T1" fmla="*/ 16 h 106"/>
                <a:gd name="T2" fmla="*/ 57 w 74"/>
                <a:gd name="T3" fmla="*/ 0 h 106"/>
                <a:gd name="T4" fmla="*/ 61 w 74"/>
                <a:gd name="T5" fmla="*/ 23 h 106"/>
                <a:gd name="T6" fmla="*/ 66 w 74"/>
                <a:gd name="T7" fmla="*/ 49 h 106"/>
                <a:gd name="T8" fmla="*/ 70 w 74"/>
                <a:gd name="T9" fmla="*/ 76 h 106"/>
                <a:gd name="T10" fmla="*/ 74 w 74"/>
                <a:gd name="T11" fmla="*/ 106 h 106"/>
                <a:gd name="T12" fmla="*/ 55 w 74"/>
                <a:gd name="T13" fmla="*/ 84 h 106"/>
                <a:gd name="T14" fmla="*/ 36 w 74"/>
                <a:gd name="T15" fmla="*/ 60 h 106"/>
                <a:gd name="T16" fmla="*/ 17 w 74"/>
                <a:gd name="T17" fmla="*/ 38 h 106"/>
                <a:gd name="T18" fmla="*/ 0 w 74"/>
                <a:gd name="T19" fmla="*/ 1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06">
                  <a:moveTo>
                    <a:pt x="0" y="16"/>
                  </a:moveTo>
                  <a:lnTo>
                    <a:pt x="57" y="0"/>
                  </a:lnTo>
                  <a:lnTo>
                    <a:pt x="61" y="23"/>
                  </a:lnTo>
                  <a:lnTo>
                    <a:pt x="66" y="49"/>
                  </a:lnTo>
                  <a:lnTo>
                    <a:pt x="70" y="76"/>
                  </a:lnTo>
                  <a:lnTo>
                    <a:pt x="74" y="106"/>
                  </a:lnTo>
                  <a:lnTo>
                    <a:pt x="55" y="84"/>
                  </a:lnTo>
                  <a:lnTo>
                    <a:pt x="36" y="60"/>
                  </a:lnTo>
                  <a:lnTo>
                    <a:pt x="17" y="38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72"/>
            <p:cNvSpPr>
              <a:spLocks/>
            </p:cNvSpPr>
            <p:nvPr/>
          </p:nvSpPr>
          <p:spPr bwMode="auto">
            <a:xfrm>
              <a:off x="4905376" y="2232025"/>
              <a:ext cx="14288" cy="20638"/>
            </a:xfrm>
            <a:custGeom>
              <a:avLst/>
              <a:gdLst>
                <a:gd name="T0" fmla="*/ 0 w 36"/>
                <a:gd name="T1" fmla="*/ 7 h 51"/>
                <a:gd name="T2" fmla="*/ 29 w 36"/>
                <a:gd name="T3" fmla="*/ 0 h 51"/>
                <a:gd name="T4" fmla="*/ 31 w 36"/>
                <a:gd name="T5" fmla="*/ 11 h 51"/>
                <a:gd name="T6" fmla="*/ 32 w 36"/>
                <a:gd name="T7" fmla="*/ 24 h 51"/>
                <a:gd name="T8" fmla="*/ 34 w 36"/>
                <a:gd name="T9" fmla="*/ 37 h 51"/>
                <a:gd name="T10" fmla="*/ 36 w 36"/>
                <a:gd name="T11" fmla="*/ 51 h 51"/>
                <a:gd name="T12" fmla="*/ 28 w 36"/>
                <a:gd name="T13" fmla="*/ 40 h 51"/>
                <a:gd name="T14" fmla="*/ 18 w 36"/>
                <a:gd name="T15" fmla="*/ 30 h 51"/>
                <a:gd name="T16" fmla="*/ 9 w 36"/>
                <a:gd name="T17" fmla="*/ 18 h 51"/>
                <a:gd name="T18" fmla="*/ 0 w 36"/>
                <a:gd name="T19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51">
                  <a:moveTo>
                    <a:pt x="0" y="7"/>
                  </a:moveTo>
                  <a:lnTo>
                    <a:pt x="29" y="0"/>
                  </a:lnTo>
                  <a:lnTo>
                    <a:pt x="31" y="11"/>
                  </a:lnTo>
                  <a:lnTo>
                    <a:pt x="32" y="24"/>
                  </a:lnTo>
                  <a:lnTo>
                    <a:pt x="34" y="37"/>
                  </a:lnTo>
                  <a:lnTo>
                    <a:pt x="36" y="51"/>
                  </a:lnTo>
                  <a:lnTo>
                    <a:pt x="28" y="40"/>
                  </a:lnTo>
                  <a:lnTo>
                    <a:pt x="18" y="30"/>
                  </a:lnTo>
                  <a:lnTo>
                    <a:pt x="9" y="18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73"/>
            <p:cNvSpPr>
              <a:spLocks/>
            </p:cNvSpPr>
            <p:nvPr/>
          </p:nvSpPr>
          <p:spPr bwMode="auto">
            <a:xfrm>
              <a:off x="4860926" y="1547813"/>
              <a:ext cx="298450" cy="60325"/>
            </a:xfrm>
            <a:custGeom>
              <a:avLst/>
              <a:gdLst>
                <a:gd name="T0" fmla="*/ 741 w 753"/>
                <a:gd name="T1" fmla="*/ 0 h 154"/>
                <a:gd name="T2" fmla="*/ 0 w 753"/>
                <a:gd name="T3" fmla="*/ 154 h 154"/>
                <a:gd name="T4" fmla="*/ 753 w 753"/>
                <a:gd name="T5" fmla="*/ 88 h 154"/>
                <a:gd name="T6" fmla="*/ 741 w 753"/>
                <a:gd name="T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3" h="154">
                  <a:moveTo>
                    <a:pt x="741" y="0"/>
                  </a:moveTo>
                  <a:lnTo>
                    <a:pt x="0" y="154"/>
                  </a:lnTo>
                  <a:lnTo>
                    <a:pt x="753" y="88"/>
                  </a:lnTo>
                  <a:lnTo>
                    <a:pt x="7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74"/>
            <p:cNvSpPr>
              <a:spLocks/>
            </p:cNvSpPr>
            <p:nvPr/>
          </p:nvSpPr>
          <p:spPr bwMode="auto">
            <a:xfrm>
              <a:off x="5159376" y="1492250"/>
              <a:ext cx="53975" cy="141288"/>
            </a:xfrm>
            <a:custGeom>
              <a:avLst/>
              <a:gdLst>
                <a:gd name="T0" fmla="*/ 85 w 135"/>
                <a:gd name="T1" fmla="*/ 0 h 355"/>
                <a:gd name="T2" fmla="*/ 0 w 135"/>
                <a:gd name="T3" fmla="*/ 13 h 355"/>
                <a:gd name="T4" fmla="*/ 17 w 135"/>
                <a:gd name="T5" fmla="*/ 132 h 355"/>
                <a:gd name="T6" fmla="*/ 18 w 135"/>
                <a:gd name="T7" fmla="*/ 142 h 355"/>
                <a:gd name="T8" fmla="*/ 22 w 135"/>
                <a:gd name="T9" fmla="*/ 167 h 355"/>
                <a:gd name="T10" fmla="*/ 27 w 135"/>
                <a:gd name="T11" fmla="*/ 202 h 355"/>
                <a:gd name="T12" fmla="*/ 33 w 135"/>
                <a:gd name="T13" fmla="*/ 243 h 355"/>
                <a:gd name="T14" fmla="*/ 39 w 135"/>
                <a:gd name="T15" fmla="*/ 284 h 355"/>
                <a:gd name="T16" fmla="*/ 45 w 135"/>
                <a:gd name="T17" fmla="*/ 319 h 355"/>
                <a:gd name="T18" fmla="*/ 49 w 135"/>
                <a:gd name="T19" fmla="*/ 345 h 355"/>
                <a:gd name="T20" fmla="*/ 50 w 135"/>
                <a:gd name="T21" fmla="*/ 355 h 355"/>
                <a:gd name="T22" fmla="*/ 135 w 135"/>
                <a:gd name="T23" fmla="*/ 342 h 355"/>
                <a:gd name="T24" fmla="*/ 85 w 135"/>
                <a:gd name="T25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355">
                  <a:moveTo>
                    <a:pt x="85" y="0"/>
                  </a:moveTo>
                  <a:lnTo>
                    <a:pt x="0" y="13"/>
                  </a:lnTo>
                  <a:lnTo>
                    <a:pt x="17" y="132"/>
                  </a:lnTo>
                  <a:lnTo>
                    <a:pt x="18" y="142"/>
                  </a:lnTo>
                  <a:lnTo>
                    <a:pt x="22" y="167"/>
                  </a:lnTo>
                  <a:lnTo>
                    <a:pt x="27" y="202"/>
                  </a:lnTo>
                  <a:lnTo>
                    <a:pt x="33" y="243"/>
                  </a:lnTo>
                  <a:lnTo>
                    <a:pt x="39" y="284"/>
                  </a:lnTo>
                  <a:lnTo>
                    <a:pt x="45" y="319"/>
                  </a:lnTo>
                  <a:lnTo>
                    <a:pt x="49" y="345"/>
                  </a:lnTo>
                  <a:lnTo>
                    <a:pt x="50" y="355"/>
                  </a:lnTo>
                  <a:lnTo>
                    <a:pt x="135" y="342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75"/>
            <p:cNvSpPr>
              <a:spLocks/>
            </p:cNvSpPr>
            <p:nvPr/>
          </p:nvSpPr>
          <p:spPr bwMode="auto">
            <a:xfrm>
              <a:off x="4627564" y="1373188"/>
              <a:ext cx="469900" cy="331788"/>
            </a:xfrm>
            <a:custGeom>
              <a:avLst/>
              <a:gdLst>
                <a:gd name="T0" fmla="*/ 826 w 1185"/>
                <a:gd name="T1" fmla="*/ 586 h 834"/>
                <a:gd name="T2" fmla="*/ 795 w 1185"/>
                <a:gd name="T3" fmla="*/ 645 h 834"/>
                <a:gd name="T4" fmla="*/ 750 w 1185"/>
                <a:gd name="T5" fmla="*/ 693 h 834"/>
                <a:gd name="T6" fmla="*/ 695 w 1185"/>
                <a:gd name="T7" fmla="*/ 730 h 834"/>
                <a:gd name="T8" fmla="*/ 631 w 1185"/>
                <a:gd name="T9" fmla="*/ 752 h 834"/>
                <a:gd name="T10" fmla="*/ 368 w 1185"/>
                <a:gd name="T11" fmla="*/ 756 h 834"/>
                <a:gd name="T12" fmla="*/ 306 w 1185"/>
                <a:gd name="T13" fmla="*/ 778 h 834"/>
                <a:gd name="T14" fmla="*/ 199 w 1185"/>
                <a:gd name="T15" fmla="*/ 829 h 834"/>
                <a:gd name="T16" fmla="*/ 181 w 1185"/>
                <a:gd name="T17" fmla="*/ 834 h 834"/>
                <a:gd name="T18" fmla="*/ 168 w 1185"/>
                <a:gd name="T19" fmla="*/ 827 h 834"/>
                <a:gd name="T20" fmla="*/ 149 w 1185"/>
                <a:gd name="T21" fmla="*/ 788 h 834"/>
                <a:gd name="T22" fmla="*/ 113 w 1185"/>
                <a:gd name="T23" fmla="*/ 703 h 834"/>
                <a:gd name="T24" fmla="*/ 93 w 1185"/>
                <a:gd name="T25" fmla="*/ 681 h 834"/>
                <a:gd name="T26" fmla="*/ 74 w 1185"/>
                <a:gd name="T27" fmla="*/ 657 h 834"/>
                <a:gd name="T28" fmla="*/ 53 w 1185"/>
                <a:gd name="T29" fmla="*/ 622 h 834"/>
                <a:gd name="T30" fmla="*/ 22 w 1185"/>
                <a:gd name="T31" fmla="*/ 581 h 834"/>
                <a:gd name="T32" fmla="*/ 7 w 1185"/>
                <a:gd name="T33" fmla="*/ 527 h 834"/>
                <a:gd name="T34" fmla="*/ 0 w 1185"/>
                <a:gd name="T35" fmla="*/ 451 h 834"/>
                <a:gd name="T36" fmla="*/ 3 w 1185"/>
                <a:gd name="T37" fmla="*/ 400 h 834"/>
                <a:gd name="T38" fmla="*/ 10 w 1185"/>
                <a:gd name="T39" fmla="*/ 363 h 834"/>
                <a:gd name="T40" fmla="*/ 26 w 1185"/>
                <a:gd name="T41" fmla="*/ 330 h 834"/>
                <a:gd name="T42" fmla="*/ 63 w 1185"/>
                <a:gd name="T43" fmla="*/ 255 h 834"/>
                <a:gd name="T44" fmla="*/ 103 w 1185"/>
                <a:gd name="T45" fmla="*/ 166 h 834"/>
                <a:gd name="T46" fmla="*/ 126 w 1185"/>
                <a:gd name="T47" fmla="*/ 129 h 834"/>
                <a:gd name="T48" fmla="*/ 150 w 1185"/>
                <a:gd name="T49" fmla="*/ 102 h 834"/>
                <a:gd name="T50" fmla="*/ 176 w 1185"/>
                <a:gd name="T51" fmla="*/ 86 h 834"/>
                <a:gd name="T52" fmla="*/ 202 w 1185"/>
                <a:gd name="T53" fmla="*/ 76 h 834"/>
                <a:gd name="T54" fmla="*/ 254 w 1185"/>
                <a:gd name="T55" fmla="*/ 72 h 834"/>
                <a:gd name="T56" fmla="*/ 327 w 1185"/>
                <a:gd name="T57" fmla="*/ 79 h 834"/>
                <a:gd name="T58" fmla="*/ 348 w 1185"/>
                <a:gd name="T59" fmla="*/ 76 h 834"/>
                <a:gd name="T60" fmla="*/ 353 w 1185"/>
                <a:gd name="T61" fmla="*/ 67 h 834"/>
                <a:gd name="T62" fmla="*/ 368 w 1185"/>
                <a:gd name="T63" fmla="*/ 42 h 834"/>
                <a:gd name="T64" fmla="*/ 403 w 1185"/>
                <a:gd name="T65" fmla="*/ 23 h 834"/>
                <a:gd name="T66" fmla="*/ 450 w 1185"/>
                <a:gd name="T67" fmla="*/ 12 h 834"/>
                <a:gd name="T68" fmla="*/ 509 w 1185"/>
                <a:gd name="T69" fmla="*/ 4 h 834"/>
                <a:gd name="T70" fmla="*/ 645 w 1185"/>
                <a:gd name="T71" fmla="*/ 0 h 834"/>
                <a:gd name="T72" fmla="*/ 778 w 1185"/>
                <a:gd name="T73" fmla="*/ 4 h 834"/>
                <a:gd name="T74" fmla="*/ 920 w 1185"/>
                <a:gd name="T75" fmla="*/ 9 h 834"/>
                <a:gd name="T76" fmla="*/ 967 w 1185"/>
                <a:gd name="T77" fmla="*/ 13 h 834"/>
                <a:gd name="T78" fmla="*/ 1009 w 1185"/>
                <a:gd name="T79" fmla="*/ 22 h 834"/>
                <a:gd name="T80" fmla="*/ 1047 w 1185"/>
                <a:gd name="T81" fmla="*/ 38 h 834"/>
                <a:gd name="T82" fmla="*/ 1081 w 1185"/>
                <a:gd name="T83" fmla="*/ 63 h 834"/>
                <a:gd name="T84" fmla="*/ 1116 w 1185"/>
                <a:gd name="T85" fmla="*/ 97 h 834"/>
                <a:gd name="T86" fmla="*/ 1147 w 1185"/>
                <a:gd name="T87" fmla="*/ 135 h 834"/>
                <a:gd name="T88" fmla="*/ 1170 w 1185"/>
                <a:gd name="T89" fmla="*/ 177 h 834"/>
                <a:gd name="T90" fmla="*/ 1182 w 1185"/>
                <a:gd name="T91" fmla="*/ 222 h 834"/>
                <a:gd name="T92" fmla="*/ 1184 w 1185"/>
                <a:gd name="T93" fmla="*/ 270 h 834"/>
                <a:gd name="T94" fmla="*/ 1173 w 1185"/>
                <a:gd name="T95" fmla="*/ 318 h 834"/>
                <a:gd name="T96" fmla="*/ 1145 w 1185"/>
                <a:gd name="T97" fmla="*/ 358 h 834"/>
                <a:gd name="T98" fmla="*/ 1103 w 1185"/>
                <a:gd name="T99" fmla="*/ 394 h 834"/>
                <a:gd name="T100" fmla="*/ 1033 w 1185"/>
                <a:gd name="T101" fmla="*/ 439 h 834"/>
                <a:gd name="T102" fmla="*/ 946 w 1185"/>
                <a:gd name="T103" fmla="*/ 485 h 834"/>
                <a:gd name="T104" fmla="*/ 889 w 1185"/>
                <a:gd name="T105" fmla="*/ 517 h 834"/>
                <a:gd name="T106" fmla="*/ 861 w 1185"/>
                <a:gd name="T107" fmla="*/ 527 h 834"/>
                <a:gd name="T108" fmla="*/ 837 w 1185"/>
                <a:gd name="T109" fmla="*/ 542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85" h="834">
                  <a:moveTo>
                    <a:pt x="837" y="542"/>
                  </a:moveTo>
                  <a:lnTo>
                    <a:pt x="833" y="564"/>
                  </a:lnTo>
                  <a:lnTo>
                    <a:pt x="826" y="586"/>
                  </a:lnTo>
                  <a:lnTo>
                    <a:pt x="818" y="606"/>
                  </a:lnTo>
                  <a:lnTo>
                    <a:pt x="807" y="626"/>
                  </a:lnTo>
                  <a:lnTo>
                    <a:pt x="795" y="645"/>
                  </a:lnTo>
                  <a:lnTo>
                    <a:pt x="781" y="662"/>
                  </a:lnTo>
                  <a:lnTo>
                    <a:pt x="766" y="678"/>
                  </a:lnTo>
                  <a:lnTo>
                    <a:pt x="750" y="693"/>
                  </a:lnTo>
                  <a:lnTo>
                    <a:pt x="733" y="707"/>
                  </a:lnTo>
                  <a:lnTo>
                    <a:pt x="715" y="719"/>
                  </a:lnTo>
                  <a:lnTo>
                    <a:pt x="695" y="730"/>
                  </a:lnTo>
                  <a:lnTo>
                    <a:pt x="674" y="739"/>
                  </a:lnTo>
                  <a:lnTo>
                    <a:pt x="652" y="746"/>
                  </a:lnTo>
                  <a:lnTo>
                    <a:pt x="631" y="752"/>
                  </a:lnTo>
                  <a:lnTo>
                    <a:pt x="607" y="755"/>
                  </a:lnTo>
                  <a:lnTo>
                    <a:pt x="584" y="756"/>
                  </a:lnTo>
                  <a:lnTo>
                    <a:pt x="368" y="756"/>
                  </a:lnTo>
                  <a:lnTo>
                    <a:pt x="361" y="755"/>
                  </a:lnTo>
                  <a:lnTo>
                    <a:pt x="352" y="755"/>
                  </a:lnTo>
                  <a:lnTo>
                    <a:pt x="306" y="778"/>
                  </a:lnTo>
                  <a:lnTo>
                    <a:pt x="262" y="801"/>
                  </a:lnTo>
                  <a:lnTo>
                    <a:pt x="225" y="818"/>
                  </a:lnTo>
                  <a:lnTo>
                    <a:pt x="199" y="829"/>
                  </a:lnTo>
                  <a:lnTo>
                    <a:pt x="193" y="832"/>
                  </a:lnTo>
                  <a:lnTo>
                    <a:pt x="187" y="834"/>
                  </a:lnTo>
                  <a:lnTo>
                    <a:pt x="181" y="834"/>
                  </a:lnTo>
                  <a:lnTo>
                    <a:pt x="177" y="833"/>
                  </a:lnTo>
                  <a:lnTo>
                    <a:pt x="173" y="830"/>
                  </a:lnTo>
                  <a:lnTo>
                    <a:pt x="168" y="827"/>
                  </a:lnTo>
                  <a:lnTo>
                    <a:pt x="165" y="821"/>
                  </a:lnTo>
                  <a:lnTo>
                    <a:pt x="161" y="816"/>
                  </a:lnTo>
                  <a:lnTo>
                    <a:pt x="149" y="788"/>
                  </a:lnTo>
                  <a:lnTo>
                    <a:pt x="138" y="758"/>
                  </a:lnTo>
                  <a:lnTo>
                    <a:pt x="123" y="724"/>
                  </a:lnTo>
                  <a:lnTo>
                    <a:pt x="113" y="703"/>
                  </a:lnTo>
                  <a:lnTo>
                    <a:pt x="106" y="692"/>
                  </a:lnTo>
                  <a:lnTo>
                    <a:pt x="99" y="686"/>
                  </a:lnTo>
                  <a:lnTo>
                    <a:pt x="93" y="681"/>
                  </a:lnTo>
                  <a:lnTo>
                    <a:pt x="84" y="672"/>
                  </a:lnTo>
                  <a:lnTo>
                    <a:pt x="80" y="665"/>
                  </a:lnTo>
                  <a:lnTo>
                    <a:pt x="74" y="657"/>
                  </a:lnTo>
                  <a:lnTo>
                    <a:pt x="66" y="645"/>
                  </a:lnTo>
                  <a:lnTo>
                    <a:pt x="57" y="629"/>
                  </a:lnTo>
                  <a:lnTo>
                    <a:pt x="53" y="622"/>
                  </a:lnTo>
                  <a:lnTo>
                    <a:pt x="41" y="605"/>
                  </a:lnTo>
                  <a:lnTo>
                    <a:pt x="28" y="590"/>
                  </a:lnTo>
                  <a:lnTo>
                    <a:pt x="22" y="581"/>
                  </a:lnTo>
                  <a:lnTo>
                    <a:pt x="17" y="568"/>
                  </a:lnTo>
                  <a:lnTo>
                    <a:pt x="11" y="549"/>
                  </a:lnTo>
                  <a:lnTo>
                    <a:pt x="7" y="527"/>
                  </a:lnTo>
                  <a:lnTo>
                    <a:pt x="4" y="502"/>
                  </a:lnTo>
                  <a:lnTo>
                    <a:pt x="2" y="477"/>
                  </a:lnTo>
                  <a:lnTo>
                    <a:pt x="0" y="451"/>
                  </a:lnTo>
                  <a:lnTo>
                    <a:pt x="0" y="426"/>
                  </a:lnTo>
                  <a:lnTo>
                    <a:pt x="0" y="413"/>
                  </a:lnTo>
                  <a:lnTo>
                    <a:pt x="3" y="400"/>
                  </a:lnTo>
                  <a:lnTo>
                    <a:pt x="4" y="387"/>
                  </a:lnTo>
                  <a:lnTo>
                    <a:pt x="7" y="375"/>
                  </a:lnTo>
                  <a:lnTo>
                    <a:pt x="10" y="363"/>
                  </a:lnTo>
                  <a:lnTo>
                    <a:pt x="14" y="351"/>
                  </a:lnTo>
                  <a:lnTo>
                    <a:pt x="20" y="340"/>
                  </a:lnTo>
                  <a:lnTo>
                    <a:pt x="26" y="330"/>
                  </a:lnTo>
                  <a:lnTo>
                    <a:pt x="38" y="308"/>
                  </a:lnTo>
                  <a:lnTo>
                    <a:pt x="51" y="283"/>
                  </a:lnTo>
                  <a:lnTo>
                    <a:pt x="63" y="255"/>
                  </a:lnTo>
                  <a:lnTo>
                    <a:pt x="76" y="225"/>
                  </a:lnTo>
                  <a:lnTo>
                    <a:pt x="89" y="195"/>
                  </a:lnTo>
                  <a:lnTo>
                    <a:pt x="103" y="166"/>
                  </a:lnTo>
                  <a:lnTo>
                    <a:pt x="110" y="154"/>
                  </a:lnTo>
                  <a:lnTo>
                    <a:pt x="118" y="141"/>
                  </a:lnTo>
                  <a:lnTo>
                    <a:pt x="126" y="129"/>
                  </a:lnTo>
                  <a:lnTo>
                    <a:pt x="135" y="118"/>
                  </a:lnTo>
                  <a:lnTo>
                    <a:pt x="142" y="109"/>
                  </a:lnTo>
                  <a:lnTo>
                    <a:pt x="150" y="102"/>
                  </a:lnTo>
                  <a:lnTo>
                    <a:pt x="159" y="95"/>
                  </a:lnTo>
                  <a:lnTo>
                    <a:pt x="167" y="90"/>
                  </a:lnTo>
                  <a:lnTo>
                    <a:pt x="176" y="86"/>
                  </a:lnTo>
                  <a:lnTo>
                    <a:pt x="184" y="83"/>
                  </a:lnTo>
                  <a:lnTo>
                    <a:pt x="193" y="79"/>
                  </a:lnTo>
                  <a:lnTo>
                    <a:pt x="202" y="76"/>
                  </a:lnTo>
                  <a:lnTo>
                    <a:pt x="219" y="73"/>
                  </a:lnTo>
                  <a:lnTo>
                    <a:pt x="237" y="72"/>
                  </a:lnTo>
                  <a:lnTo>
                    <a:pt x="254" y="72"/>
                  </a:lnTo>
                  <a:lnTo>
                    <a:pt x="272" y="73"/>
                  </a:lnTo>
                  <a:lnTo>
                    <a:pt x="302" y="76"/>
                  </a:lnTo>
                  <a:lnTo>
                    <a:pt x="327" y="79"/>
                  </a:lnTo>
                  <a:lnTo>
                    <a:pt x="337" y="79"/>
                  </a:lnTo>
                  <a:lnTo>
                    <a:pt x="345" y="77"/>
                  </a:lnTo>
                  <a:lnTo>
                    <a:pt x="348" y="76"/>
                  </a:lnTo>
                  <a:lnTo>
                    <a:pt x="350" y="74"/>
                  </a:lnTo>
                  <a:lnTo>
                    <a:pt x="352" y="71"/>
                  </a:lnTo>
                  <a:lnTo>
                    <a:pt x="353" y="67"/>
                  </a:lnTo>
                  <a:lnTo>
                    <a:pt x="355" y="58"/>
                  </a:lnTo>
                  <a:lnTo>
                    <a:pt x="361" y="49"/>
                  </a:lnTo>
                  <a:lnTo>
                    <a:pt x="368" y="42"/>
                  </a:lnTo>
                  <a:lnTo>
                    <a:pt x="378" y="35"/>
                  </a:lnTo>
                  <a:lnTo>
                    <a:pt x="389" y="29"/>
                  </a:lnTo>
                  <a:lnTo>
                    <a:pt x="403" y="23"/>
                  </a:lnTo>
                  <a:lnTo>
                    <a:pt x="417" y="19"/>
                  </a:lnTo>
                  <a:lnTo>
                    <a:pt x="433" y="15"/>
                  </a:lnTo>
                  <a:lnTo>
                    <a:pt x="450" y="12"/>
                  </a:lnTo>
                  <a:lnTo>
                    <a:pt x="469" y="8"/>
                  </a:lnTo>
                  <a:lnTo>
                    <a:pt x="489" y="6"/>
                  </a:lnTo>
                  <a:lnTo>
                    <a:pt x="509" y="4"/>
                  </a:lnTo>
                  <a:lnTo>
                    <a:pt x="552" y="1"/>
                  </a:lnTo>
                  <a:lnTo>
                    <a:pt x="598" y="0"/>
                  </a:lnTo>
                  <a:lnTo>
                    <a:pt x="645" y="0"/>
                  </a:lnTo>
                  <a:lnTo>
                    <a:pt x="691" y="1"/>
                  </a:lnTo>
                  <a:lnTo>
                    <a:pt x="736" y="2"/>
                  </a:lnTo>
                  <a:lnTo>
                    <a:pt x="778" y="4"/>
                  </a:lnTo>
                  <a:lnTo>
                    <a:pt x="852" y="7"/>
                  </a:lnTo>
                  <a:lnTo>
                    <a:pt x="903" y="8"/>
                  </a:lnTo>
                  <a:lnTo>
                    <a:pt x="920" y="9"/>
                  </a:lnTo>
                  <a:lnTo>
                    <a:pt x="937" y="9"/>
                  </a:lnTo>
                  <a:lnTo>
                    <a:pt x="952" y="10"/>
                  </a:lnTo>
                  <a:lnTo>
                    <a:pt x="967" y="13"/>
                  </a:lnTo>
                  <a:lnTo>
                    <a:pt x="982" y="15"/>
                  </a:lnTo>
                  <a:lnTo>
                    <a:pt x="996" y="18"/>
                  </a:lnTo>
                  <a:lnTo>
                    <a:pt x="1009" y="22"/>
                  </a:lnTo>
                  <a:lnTo>
                    <a:pt x="1022" y="27"/>
                  </a:lnTo>
                  <a:lnTo>
                    <a:pt x="1035" y="33"/>
                  </a:lnTo>
                  <a:lnTo>
                    <a:pt x="1047" y="38"/>
                  </a:lnTo>
                  <a:lnTo>
                    <a:pt x="1059" y="46"/>
                  </a:lnTo>
                  <a:lnTo>
                    <a:pt x="1071" y="55"/>
                  </a:lnTo>
                  <a:lnTo>
                    <a:pt x="1081" y="63"/>
                  </a:lnTo>
                  <a:lnTo>
                    <a:pt x="1093" y="73"/>
                  </a:lnTo>
                  <a:lnTo>
                    <a:pt x="1105" y="84"/>
                  </a:lnTo>
                  <a:lnTo>
                    <a:pt x="1116" y="97"/>
                  </a:lnTo>
                  <a:lnTo>
                    <a:pt x="1128" y="108"/>
                  </a:lnTo>
                  <a:lnTo>
                    <a:pt x="1137" y="121"/>
                  </a:lnTo>
                  <a:lnTo>
                    <a:pt x="1147" y="135"/>
                  </a:lnTo>
                  <a:lnTo>
                    <a:pt x="1156" y="148"/>
                  </a:lnTo>
                  <a:lnTo>
                    <a:pt x="1163" y="163"/>
                  </a:lnTo>
                  <a:lnTo>
                    <a:pt x="1170" y="177"/>
                  </a:lnTo>
                  <a:lnTo>
                    <a:pt x="1175" y="192"/>
                  </a:lnTo>
                  <a:lnTo>
                    <a:pt x="1179" y="207"/>
                  </a:lnTo>
                  <a:lnTo>
                    <a:pt x="1182" y="222"/>
                  </a:lnTo>
                  <a:lnTo>
                    <a:pt x="1184" y="237"/>
                  </a:lnTo>
                  <a:lnTo>
                    <a:pt x="1185" y="254"/>
                  </a:lnTo>
                  <a:lnTo>
                    <a:pt x="1184" y="270"/>
                  </a:lnTo>
                  <a:lnTo>
                    <a:pt x="1181" y="286"/>
                  </a:lnTo>
                  <a:lnTo>
                    <a:pt x="1178" y="302"/>
                  </a:lnTo>
                  <a:lnTo>
                    <a:pt x="1173" y="318"/>
                  </a:lnTo>
                  <a:lnTo>
                    <a:pt x="1166" y="334"/>
                  </a:lnTo>
                  <a:lnTo>
                    <a:pt x="1156" y="346"/>
                  </a:lnTo>
                  <a:lnTo>
                    <a:pt x="1145" y="358"/>
                  </a:lnTo>
                  <a:lnTo>
                    <a:pt x="1131" y="372"/>
                  </a:lnTo>
                  <a:lnTo>
                    <a:pt x="1117" y="384"/>
                  </a:lnTo>
                  <a:lnTo>
                    <a:pt x="1103" y="394"/>
                  </a:lnTo>
                  <a:lnTo>
                    <a:pt x="1089" y="405"/>
                  </a:lnTo>
                  <a:lnTo>
                    <a:pt x="1062" y="423"/>
                  </a:lnTo>
                  <a:lnTo>
                    <a:pt x="1033" y="439"/>
                  </a:lnTo>
                  <a:lnTo>
                    <a:pt x="1005" y="454"/>
                  </a:lnTo>
                  <a:lnTo>
                    <a:pt x="976" y="469"/>
                  </a:lnTo>
                  <a:lnTo>
                    <a:pt x="946" y="485"/>
                  </a:lnTo>
                  <a:lnTo>
                    <a:pt x="915" y="503"/>
                  </a:lnTo>
                  <a:lnTo>
                    <a:pt x="901" y="511"/>
                  </a:lnTo>
                  <a:lnTo>
                    <a:pt x="889" y="517"/>
                  </a:lnTo>
                  <a:lnTo>
                    <a:pt x="878" y="520"/>
                  </a:lnTo>
                  <a:lnTo>
                    <a:pt x="868" y="524"/>
                  </a:lnTo>
                  <a:lnTo>
                    <a:pt x="861" y="527"/>
                  </a:lnTo>
                  <a:lnTo>
                    <a:pt x="852" y="530"/>
                  </a:lnTo>
                  <a:lnTo>
                    <a:pt x="845" y="535"/>
                  </a:lnTo>
                  <a:lnTo>
                    <a:pt x="837" y="542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76"/>
            <p:cNvSpPr>
              <a:spLocks/>
            </p:cNvSpPr>
            <p:nvPr/>
          </p:nvSpPr>
          <p:spPr bwMode="auto">
            <a:xfrm>
              <a:off x="4729164" y="1490663"/>
              <a:ext cx="4763" cy="4763"/>
            </a:xfrm>
            <a:custGeom>
              <a:avLst/>
              <a:gdLst>
                <a:gd name="T0" fmla="*/ 9 w 9"/>
                <a:gd name="T1" fmla="*/ 0 h 9"/>
                <a:gd name="T2" fmla="*/ 0 w 9"/>
                <a:gd name="T3" fmla="*/ 9 h 9"/>
                <a:gd name="T4" fmla="*/ 0 w 9"/>
                <a:gd name="T5" fmla="*/ 0 h 9"/>
                <a:gd name="T6" fmla="*/ 9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9" y="0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7"/>
            <p:cNvSpPr>
              <a:spLocks/>
            </p:cNvSpPr>
            <p:nvPr/>
          </p:nvSpPr>
          <p:spPr bwMode="auto">
            <a:xfrm>
              <a:off x="4729164" y="1490663"/>
              <a:ext cx="6350" cy="6350"/>
            </a:xfrm>
            <a:custGeom>
              <a:avLst/>
              <a:gdLst>
                <a:gd name="T0" fmla="*/ 0 w 15"/>
                <a:gd name="T1" fmla="*/ 3 h 16"/>
                <a:gd name="T2" fmla="*/ 3 w 15"/>
                <a:gd name="T3" fmla="*/ 0 h 16"/>
                <a:gd name="T4" fmla="*/ 15 w 15"/>
                <a:gd name="T5" fmla="*/ 0 h 16"/>
                <a:gd name="T6" fmla="*/ 0 w 15"/>
                <a:gd name="T7" fmla="*/ 16 h 16"/>
                <a:gd name="T8" fmla="*/ 0 w 15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0" y="3"/>
                  </a:moveTo>
                  <a:lnTo>
                    <a:pt x="3" y="0"/>
                  </a:lnTo>
                  <a:lnTo>
                    <a:pt x="15" y="0"/>
                  </a:lnTo>
                  <a:lnTo>
                    <a:pt x="0" y="16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78"/>
            <p:cNvSpPr>
              <a:spLocks/>
            </p:cNvSpPr>
            <p:nvPr/>
          </p:nvSpPr>
          <p:spPr bwMode="auto">
            <a:xfrm>
              <a:off x="4729164" y="1490663"/>
              <a:ext cx="9525" cy="9525"/>
            </a:xfrm>
            <a:custGeom>
              <a:avLst/>
              <a:gdLst>
                <a:gd name="T0" fmla="*/ 0 w 21"/>
                <a:gd name="T1" fmla="*/ 9 h 22"/>
                <a:gd name="T2" fmla="*/ 9 w 21"/>
                <a:gd name="T3" fmla="*/ 0 h 22"/>
                <a:gd name="T4" fmla="*/ 21 w 21"/>
                <a:gd name="T5" fmla="*/ 0 h 22"/>
                <a:gd name="T6" fmla="*/ 0 w 21"/>
                <a:gd name="T7" fmla="*/ 22 h 22"/>
                <a:gd name="T8" fmla="*/ 0 w 21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0" y="9"/>
                  </a:moveTo>
                  <a:lnTo>
                    <a:pt x="9" y="0"/>
                  </a:lnTo>
                  <a:lnTo>
                    <a:pt x="21" y="0"/>
                  </a:lnTo>
                  <a:lnTo>
                    <a:pt x="0" y="22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79"/>
            <p:cNvSpPr>
              <a:spLocks/>
            </p:cNvSpPr>
            <p:nvPr/>
          </p:nvSpPr>
          <p:spPr bwMode="auto">
            <a:xfrm>
              <a:off x="4729164" y="1490663"/>
              <a:ext cx="11113" cy="11113"/>
            </a:xfrm>
            <a:custGeom>
              <a:avLst/>
              <a:gdLst>
                <a:gd name="T0" fmla="*/ 0 w 26"/>
                <a:gd name="T1" fmla="*/ 16 h 29"/>
                <a:gd name="T2" fmla="*/ 15 w 26"/>
                <a:gd name="T3" fmla="*/ 0 h 29"/>
                <a:gd name="T4" fmla="*/ 26 w 26"/>
                <a:gd name="T5" fmla="*/ 0 h 29"/>
                <a:gd name="T6" fmla="*/ 0 w 26"/>
                <a:gd name="T7" fmla="*/ 29 h 29"/>
                <a:gd name="T8" fmla="*/ 0 w 26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9">
                  <a:moveTo>
                    <a:pt x="0" y="16"/>
                  </a:moveTo>
                  <a:lnTo>
                    <a:pt x="15" y="0"/>
                  </a:lnTo>
                  <a:lnTo>
                    <a:pt x="26" y="0"/>
                  </a:lnTo>
                  <a:lnTo>
                    <a:pt x="0" y="29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80"/>
            <p:cNvSpPr>
              <a:spLocks/>
            </p:cNvSpPr>
            <p:nvPr/>
          </p:nvSpPr>
          <p:spPr bwMode="auto">
            <a:xfrm>
              <a:off x="4729164" y="1490663"/>
              <a:ext cx="14288" cy="14288"/>
            </a:xfrm>
            <a:custGeom>
              <a:avLst/>
              <a:gdLst>
                <a:gd name="T0" fmla="*/ 0 w 33"/>
                <a:gd name="T1" fmla="*/ 22 h 35"/>
                <a:gd name="T2" fmla="*/ 21 w 33"/>
                <a:gd name="T3" fmla="*/ 0 h 35"/>
                <a:gd name="T4" fmla="*/ 33 w 33"/>
                <a:gd name="T5" fmla="*/ 0 h 35"/>
                <a:gd name="T6" fmla="*/ 0 w 33"/>
                <a:gd name="T7" fmla="*/ 35 h 35"/>
                <a:gd name="T8" fmla="*/ 0 w 33"/>
                <a:gd name="T9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5">
                  <a:moveTo>
                    <a:pt x="0" y="22"/>
                  </a:moveTo>
                  <a:lnTo>
                    <a:pt x="21" y="0"/>
                  </a:lnTo>
                  <a:lnTo>
                    <a:pt x="33" y="0"/>
                  </a:lnTo>
                  <a:lnTo>
                    <a:pt x="0" y="35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81"/>
            <p:cNvSpPr>
              <a:spLocks/>
            </p:cNvSpPr>
            <p:nvPr/>
          </p:nvSpPr>
          <p:spPr bwMode="auto">
            <a:xfrm>
              <a:off x="4729164" y="1490663"/>
              <a:ext cx="15875" cy="17463"/>
            </a:xfrm>
            <a:custGeom>
              <a:avLst/>
              <a:gdLst>
                <a:gd name="T0" fmla="*/ 0 w 38"/>
                <a:gd name="T1" fmla="*/ 29 h 42"/>
                <a:gd name="T2" fmla="*/ 26 w 38"/>
                <a:gd name="T3" fmla="*/ 0 h 42"/>
                <a:gd name="T4" fmla="*/ 38 w 38"/>
                <a:gd name="T5" fmla="*/ 0 h 42"/>
                <a:gd name="T6" fmla="*/ 0 w 38"/>
                <a:gd name="T7" fmla="*/ 42 h 42"/>
                <a:gd name="T8" fmla="*/ 0 w 38"/>
                <a:gd name="T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2">
                  <a:moveTo>
                    <a:pt x="0" y="29"/>
                  </a:moveTo>
                  <a:lnTo>
                    <a:pt x="26" y="0"/>
                  </a:lnTo>
                  <a:lnTo>
                    <a:pt x="38" y="0"/>
                  </a:lnTo>
                  <a:lnTo>
                    <a:pt x="0" y="42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82"/>
            <p:cNvSpPr>
              <a:spLocks/>
            </p:cNvSpPr>
            <p:nvPr/>
          </p:nvSpPr>
          <p:spPr bwMode="auto">
            <a:xfrm>
              <a:off x="4729164" y="1490663"/>
              <a:ext cx="19050" cy="19050"/>
            </a:xfrm>
            <a:custGeom>
              <a:avLst/>
              <a:gdLst>
                <a:gd name="T0" fmla="*/ 0 w 45"/>
                <a:gd name="T1" fmla="*/ 35 h 48"/>
                <a:gd name="T2" fmla="*/ 33 w 45"/>
                <a:gd name="T3" fmla="*/ 0 h 48"/>
                <a:gd name="T4" fmla="*/ 45 w 45"/>
                <a:gd name="T5" fmla="*/ 0 h 48"/>
                <a:gd name="T6" fmla="*/ 0 w 45"/>
                <a:gd name="T7" fmla="*/ 48 h 48"/>
                <a:gd name="T8" fmla="*/ 0 w 45"/>
                <a:gd name="T9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8">
                  <a:moveTo>
                    <a:pt x="0" y="35"/>
                  </a:moveTo>
                  <a:lnTo>
                    <a:pt x="33" y="0"/>
                  </a:lnTo>
                  <a:lnTo>
                    <a:pt x="45" y="0"/>
                  </a:lnTo>
                  <a:lnTo>
                    <a:pt x="0" y="48"/>
                  </a:ln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83"/>
            <p:cNvSpPr>
              <a:spLocks/>
            </p:cNvSpPr>
            <p:nvPr/>
          </p:nvSpPr>
          <p:spPr bwMode="auto">
            <a:xfrm>
              <a:off x="4729164" y="1490663"/>
              <a:ext cx="20638" cy="22225"/>
            </a:xfrm>
            <a:custGeom>
              <a:avLst/>
              <a:gdLst>
                <a:gd name="T0" fmla="*/ 0 w 50"/>
                <a:gd name="T1" fmla="*/ 42 h 54"/>
                <a:gd name="T2" fmla="*/ 38 w 50"/>
                <a:gd name="T3" fmla="*/ 0 h 54"/>
                <a:gd name="T4" fmla="*/ 50 w 50"/>
                <a:gd name="T5" fmla="*/ 0 h 54"/>
                <a:gd name="T6" fmla="*/ 0 w 50"/>
                <a:gd name="T7" fmla="*/ 54 h 54"/>
                <a:gd name="T8" fmla="*/ 0 w 50"/>
                <a:gd name="T9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4">
                  <a:moveTo>
                    <a:pt x="0" y="42"/>
                  </a:moveTo>
                  <a:lnTo>
                    <a:pt x="38" y="0"/>
                  </a:lnTo>
                  <a:lnTo>
                    <a:pt x="50" y="0"/>
                  </a:lnTo>
                  <a:lnTo>
                    <a:pt x="0" y="5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84"/>
            <p:cNvSpPr>
              <a:spLocks/>
            </p:cNvSpPr>
            <p:nvPr/>
          </p:nvSpPr>
          <p:spPr bwMode="auto">
            <a:xfrm>
              <a:off x="4729164" y="1490663"/>
              <a:ext cx="23813" cy="23813"/>
            </a:xfrm>
            <a:custGeom>
              <a:avLst/>
              <a:gdLst>
                <a:gd name="T0" fmla="*/ 0 w 57"/>
                <a:gd name="T1" fmla="*/ 48 h 61"/>
                <a:gd name="T2" fmla="*/ 45 w 57"/>
                <a:gd name="T3" fmla="*/ 0 h 61"/>
                <a:gd name="T4" fmla="*/ 57 w 57"/>
                <a:gd name="T5" fmla="*/ 0 h 61"/>
                <a:gd name="T6" fmla="*/ 0 w 57"/>
                <a:gd name="T7" fmla="*/ 61 h 61"/>
                <a:gd name="T8" fmla="*/ 0 w 57"/>
                <a:gd name="T9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1">
                  <a:moveTo>
                    <a:pt x="0" y="48"/>
                  </a:moveTo>
                  <a:lnTo>
                    <a:pt x="45" y="0"/>
                  </a:lnTo>
                  <a:lnTo>
                    <a:pt x="57" y="0"/>
                  </a:lnTo>
                  <a:lnTo>
                    <a:pt x="0" y="61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85"/>
            <p:cNvSpPr>
              <a:spLocks/>
            </p:cNvSpPr>
            <p:nvPr/>
          </p:nvSpPr>
          <p:spPr bwMode="auto">
            <a:xfrm>
              <a:off x="4729164" y="1490663"/>
              <a:ext cx="25400" cy="26988"/>
            </a:xfrm>
            <a:custGeom>
              <a:avLst/>
              <a:gdLst>
                <a:gd name="T0" fmla="*/ 0 w 62"/>
                <a:gd name="T1" fmla="*/ 54 h 67"/>
                <a:gd name="T2" fmla="*/ 50 w 62"/>
                <a:gd name="T3" fmla="*/ 0 h 67"/>
                <a:gd name="T4" fmla="*/ 62 w 62"/>
                <a:gd name="T5" fmla="*/ 0 h 67"/>
                <a:gd name="T6" fmla="*/ 0 w 62"/>
                <a:gd name="T7" fmla="*/ 67 h 67"/>
                <a:gd name="T8" fmla="*/ 0 w 62"/>
                <a:gd name="T9" fmla="*/ 5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7">
                  <a:moveTo>
                    <a:pt x="0" y="54"/>
                  </a:moveTo>
                  <a:lnTo>
                    <a:pt x="50" y="0"/>
                  </a:lnTo>
                  <a:lnTo>
                    <a:pt x="62" y="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86"/>
            <p:cNvSpPr>
              <a:spLocks/>
            </p:cNvSpPr>
            <p:nvPr/>
          </p:nvSpPr>
          <p:spPr bwMode="auto">
            <a:xfrm>
              <a:off x="4729164" y="1490663"/>
              <a:ext cx="28575" cy="30163"/>
            </a:xfrm>
            <a:custGeom>
              <a:avLst/>
              <a:gdLst>
                <a:gd name="T0" fmla="*/ 0 w 68"/>
                <a:gd name="T1" fmla="*/ 61 h 74"/>
                <a:gd name="T2" fmla="*/ 57 w 68"/>
                <a:gd name="T3" fmla="*/ 0 h 74"/>
                <a:gd name="T4" fmla="*/ 68 w 68"/>
                <a:gd name="T5" fmla="*/ 0 h 74"/>
                <a:gd name="T6" fmla="*/ 0 w 68"/>
                <a:gd name="T7" fmla="*/ 74 h 74"/>
                <a:gd name="T8" fmla="*/ 0 w 68"/>
                <a:gd name="T9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74">
                  <a:moveTo>
                    <a:pt x="0" y="61"/>
                  </a:moveTo>
                  <a:lnTo>
                    <a:pt x="57" y="0"/>
                  </a:lnTo>
                  <a:lnTo>
                    <a:pt x="68" y="0"/>
                  </a:lnTo>
                  <a:lnTo>
                    <a:pt x="0" y="74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87"/>
            <p:cNvSpPr>
              <a:spLocks/>
            </p:cNvSpPr>
            <p:nvPr/>
          </p:nvSpPr>
          <p:spPr bwMode="auto">
            <a:xfrm>
              <a:off x="4729164" y="1490663"/>
              <a:ext cx="30163" cy="31750"/>
            </a:xfrm>
            <a:custGeom>
              <a:avLst/>
              <a:gdLst>
                <a:gd name="T0" fmla="*/ 0 w 74"/>
                <a:gd name="T1" fmla="*/ 67 h 80"/>
                <a:gd name="T2" fmla="*/ 62 w 74"/>
                <a:gd name="T3" fmla="*/ 0 h 80"/>
                <a:gd name="T4" fmla="*/ 74 w 74"/>
                <a:gd name="T5" fmla="*/ 0 h 80"/>
                <a:gd name="T6" fmla="*/ 0 w 74"/>
                <a:gd name="T7" fmla="*/ 80 h 80"/>
                <a:gd name="T8" fmla="*/ 0 w 74"/>
                <a:gd name="T9" fmla="*/ 6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0">
                  <a:moveTo>
                    <a:pt x="0" y="67"/>
                  </a:moveTo>
                  <a:lnTo>
                    <a:pt x="62" y="0"/>
                  </a:lnTo>
                  <a:lnTo>
                    <a:pt x="74" y="0"/>
                  </a:lnTo>
                  <a:lnTo>
                    <a:pt x="0" y="80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88"/>
            <p:cNvSpPr>
              <a:spLocks/>
            </p:cNvSpPr>
            <p:nvPr/>
          </p:nvSpPr>
          <p:spPr bwMode="auto">
            <a:xfrm>
              <a:off x="4729164" y="1490663"/>
              <a:ext cx="33338" cy="34925"/>
            </a:xfrm>
            <a:custGeom>
              <a:avLst/>
              <a:gdLst>
                <a:gd name="T0" fmla="*/ 0 w 80"/>
                <a:gd name="T1" fmla="*/ 74 h 87"/>
                <a:gd name="T2" fmla="*/ 68 w 80"/>
                <a:gd name="T3" fmla="*/ 0 h 87"/>
                <a:gd name="T4" fmla="*/ 80 w 80"/>
                <a:gd name="T5" fmla="*/ 0 h 87"/>
                <a:gd name="T6" fmla="*/ 0 w 80"/>
                <a:gd name="T7" fmla="*/ 87 h 87"/>
                <a:gd name="T8" fmla="*/ 0 w 80"/>
                <a:gd name="T9" fmla="*/ 7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7">
                  <a:moveTo>
                    <a:pt x="0" y="74"/>
                  </a:moveTo>
                  <a:lnTo>
                    <a:pt x="68" y="0"/>
                  </a:lnTo>
                  <a:lnTo>
                    <a:pt x="80" y="0"/>
                  </a:lnTo>
                  <a:lnTo>
                    <a:pt x="0" y="87"/>
                  </a:lnTo>
                  <a:lnTo>
                    <a:pt x="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389"/>
            <p:cNvSpPr>
              <a:spLocks/>
            </p:cNvSpPr>
            <p:nvPr/>
          </p:nvSpPr>
          <p:spPr bwMode="auto">
            <a:xfrm>
              <a:off x="4729164" y="1490663"/>
              <a:ext cx="34925" cy="38100"/>
            </a:xfrm>
            <a:custGeom>
              <a:avLst/>
              <a:gdLst>
                <a:gd name="T0" fmla="*/ 0 w 86"/>
                <a:gd name="T1" fmla="*/ 80 h 93"/>
                <a:gd name="T2" fmla="*/ 74 w 86"/>
                <a:gd name="T3" fmla="*/ 0 h 93"/>
                <a:gd name="T4" fmla="*/ 86 w 86"/>
                <a:gd name="T5" fmla="*/ 0 h 93"/>
                <a:gd name="T6" fmla="*/ 0 w 86"/>
                <a:gd name="T7" fmla="*/ 93 h 93"/>
                <a:gd name="T8" fmla="*/ 0 w 86"/>
                <a:gd name="T9" fmla="*/ 8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3">
                  <a:moveTo>
                    <a:pt x="0" y="80"/>
                  </a:moveTo>
                  <a:lnTo>
                    <a:pt x="74" y="0"/>
                  </a:lnTo>
                  <a:lnTo>
                    <a:pt x="86" y="0"/>
                  </a:lnTo>
                  <a:lnTo>
                    <a:pt x="0" y="93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390"/>
            <p:cNvSpPr>
              <a:spLocks/>
            </p:cNvSpPr>
            <p:nvPr/>
          </p:nvSpPr>
          <p:spPr bwMode="auto">
            <a:xfrm>
              <a:off x="4729164" y="1490663"/>
              <a:ext cx="34925" cy="39688"/>
            </a:xfrm>
            <a:custGeom>
              <a:avLst/>
              <a:gdLst>
                <a:gd name="T0" fmla="*/ 0 w 87"/>
                <a:gd name="T1" fmla="*/ 87 h 100"/>
                <a:gd name="T2" fmla="*/ 80 w 87"/>
                <a:gd name="T3" fmla="*/ 0 h 100"/>
                <a:gd name="T4" fmla="*/ 87 w 87"/>
                <a:gd name="T5" fmla="*/ 0 h 100"/>
                <a:gd name="T6" fmla="*/ 87 w 87"/>
                <a:gd name="T7" fmla="*/ 0 h 100"/>
                <a:gd name="T8" fmla="*/ 87 w 87"/>
                <a:gd name="T9" fmla="*/ 5 h 100"/>
                <a:gd name="T10" fmla="*/ 0 w 87"/>
                <a:gd name="T11" fmla="*/ 100 h 100"/>
                <a:gd name="T12" fmla="*/ 0 w 87"/>
                <a:gd name="T13" fmla="*/ 8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0" y="87"/>
                  </a:moveTo>
                  <a:lnTo>
                    <a:pt x="80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5"/>
                  </a:lnTo>
                  <a:lnTo>
                    <a:pt x="0" y="100"/>
                  </a:lnTo>
                  <a:lnTo>
                    <a:pt x="0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391"/>
            <p:cNvSpPr>
              <a:spLocks/>
            </p:cNvSpPr>
            <p:nvPr/>
          </p:nvSpPr>
          <p:spPr bwMode="auto">
            <a:xfrm>
              <a:off x="4729164" y="1490663"/>
              <a:ext cx="34925" cy="42863"/>
            </a:xfrm>
            <a:custGeom>
              <a:avLst/>
              <a:gdLst>
                <a:gd name="T0" fmla="*/ 0 w 87"/>
                <a:gd name="T1" fmla="*/ 93 h 106"/>
                <a:gd name="T2" fmla="*/ 86 w 87"/>
                <a:gd name="T3" fmla="*/ 0 h 106"/>
                <a:gd name="T4" fmla="*/ 87 w 87"/>
                <a:gd name="T5" fmla="*/ 0 h 106"/>
                <a:gd name="T6" fmla="*/ 87 w 87"/>
                <a:gd name="T7" fmla="*/ 0 h 106"/>
                <a:gd name="T8" fmla="*/ 87 w 87"/>
                <a:gd name="T9" fmla="*/ 11 h 106"/>
                <a:gd name="T10" fmla="*/ 0 w 87"/>
                <a:gd name="T11" fmla="*/ 106 h 106"/>
                <a:gd name="T12" fmla="*/ 0 w 87"/>
                <a:gd name="T13" fmla="*/ 9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6">
                  <a:moveTo>
                    <a:pt x="0" y="93"/>
                  </a:moveTo>
                  <a:lnTo>
                    <a:pt x="86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11"/>
                  </a:lnTo>
                  <a:lnTo>
                    <a:pt x="0" y="106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392"/>
            <p:cNvSpPr>
              <a:spLocks/>
            </p:cNvSpPr>
            <p:nvPr/>
          </p:nvSpPr>
          <p:spPr bwMode="auto">
            <a:xfrm>
              <a:off x="4729164" y="1492250"/>
              <a:ext cx="34925" cy="42863"/>
            </a:xfrm>
            <a:custGeom>
              <a:avLst/>
              <a:gdLst>
                <a:gd name="T0" fmla="*/ 0 w 87"/>
                <a:gd name="T1" fmla="*/ 95 h 106"/>
                <a:gd name="T2" fmla="*/ 87 w 87"/>
                <a:gd name="T3" fmla="*/ 0 h 106"/>
                <a:gd name="T4" fmla="*/ 87 w 87"/>
                <a:gd name="T5" fmla="*/ 13 h 106"/>
                <a:gd name="T6" fmla="*/ 0 w 87"/>
                <a:gd name="T7" fmla="*/ 106 h 106"/>
                <a:gd name="T8" fmla="*/ 0 w 87"/>
                <a:gd name="T9" fmla="*/ 9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6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6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93"/>
            <p:cNvSpPr>
              <a:spLocks/>
            </p:cNvSpPr>
            <p:nvPr/>
          </p:nvSpPr>
          <p:spPr bwMode="auto">
            <a:xfrm>
              <a:off x="4729164" y="1495425"/>
              <a:ext cx="34925" cy="42863"/>
            </a:xfrm>
            <a:custGeom>
              <a:avLst/>
              <a:gdLst>
                <a:gd name="T0" fmla="*/ 0 w 87"/>
                <a:gd name="T1" fmla="*/ 95 h 107"/>
                <a:gd name="T2" fmla="*/ 87 w 87"/>
                <a:gd name="T3" fmla="*/ 0 h 107"/>
                <a:gd name="T4" fmla="*/ 87 w 87"/>
                <a:gd name="T5" fmla="*/ 13 h 107"/>
                <a:gd name="T6" fmla="*/ 0 w 87"/>
                <a:gd name="T7" fmla="*/ 107 h 107"/>
                <a:gd name="T8" fmla="*/ 0 w 87"/>
                <a:gd name="T9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7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394"/>
            <p:cNvSpPr>
              <a:spLocks/>
            </p:cNvSpPr>
            <p:nvPr/>
          </p:nvSpPr>
          <p:spPr bwMode="auto">
            <a:xfrm>
              <a:off x="4729164" y="1498600"/>
              <a:ext cx="34925" cy="41275"/>
            </a:xfrm>
            <a:custGeom>
              <a:avLst/>
              <a:gdLst>
                <a:gd name="T0" fmla="*/ 0 w 87"/>
                <a:gd name="T1" fmla="*/ 93 h 106"/>
                <a:gd name="T2" fmla="*/ 87 w 87"/>
                <a:gd name="T3" fmla="*/ 0 h 106"/>
                <a:gd name="T4" fmla="*/ 87 w 87"/>
                <a:gd name="T5" fmla="*/ 13 h 106"/>
                <a:gd name="T6" fmla="*/ 0 w 87"/>
                <a:gd name="T7" fmla="*/ 106 h 106"/>
                <a:gd name="T8" fmla="*/ 0 w 87"/>
                <a:gd name="T9" fmla="*/ 9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6">
                  <a:moveTo>
                    <a:pt x="0" y="93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6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395"/>
            <p:cNvSpPr>
              <a:spLocks/>
            </p:cNvSpPr>
            <p:nvPr/>
          </p:nvSpPr>
          <p:spPr bwMode="auto">
            <a:xfrm>
              <a:off x="4729164" y="1500188"/>
              <a:ext cx="34925" cy="42863"/>
            </a:xfrm>
            <a:custGeom>
              <a:avLst/>
              <a:gdLst>
                <a:gd name="T0" fmla="*/ 0 w 87"/>
                <a:gd name="T1" fmla="*/ 94 h 107"/>
                <a:gd name="T2" fmla="*/ 87 w 87"/>
                <a:gd name="T3" fmla="*/ 0 h 107"/>
                <a:gd name="T4" fmla="*/ 87 w 87"/>
                <a:gd name="T5" fmla="*/ 13 h 107"/>
                <a:gd name="T6" fmla="*/ 0 w 87"/>
                <a:gd name="T7" fmla="*/ 107 h 107"/>
                <a:gd name="T8" fmla="*/ 0 w 87"/>
                <a:gd name="T9" fmla="*/ 9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4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96"/>
            <p:cNvSpPr>
              <a:spLocks/>
            </p:cNvSpPr>
            <p:nvPr/>
          </p:nvSpPr>
          <p:spPr bwMode="auto">
            <a:xfrm>
              <a:off x="4729164" y="1503363"/>
              <a:ext cx="34925" cy="42863"/>
            </a:xfrm>
            <a:custGeom>
              <a:avLst/>
              <a:gdLst>
                <a:gd name="T0" fmla="*/ 0 w 87"/>
                <a:gd name="T1" fmla="*/ 93 h 106"/>
                <a:gd name="T2" fmla="*/ 87 w 87"/>
                <a:gd name="T3" fmla="*/ 0 h 106"/>
                <a:gd name="T4" fmla="*/ 87 w 87"/>
                <a:gd name="T5" fmla="*/ 13 h 106"/>
                <a:gd name="T6" fmla="*/ 0 w 87"/>
                <a:gd name="T7" fmla="*/ 106 h 106"/>
                <a:gd name="T8" fmla="*/ 0 w 87"/>
                <a:gd name="T9" fmla="*/ 9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6">
                  <a:moveTo>
                    <a:pt x="0" y="93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6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97"/>
            <p:cNvSpPr>
              <a:spLocks/>
            </p:cNvSpPr>
            <p:nvPr/>
          </p:nvSpPr>
          <p:spPr bwMode="auto">
            <a:xfrm>
              <a:off x="4729164" y="1506538"/>
              <a:ext cx="34925" cy="41275"/>
            </a:xfrm>
            <a:custGeom>
              <a:avLst/>
              <a:gdLst>
                <a:gd name="T0" fmla="*/ 0 w 87"/>
                <a:gd name="T1" fmla="*/ 94 h 107"/>
                <a:gd name="T2" fmla="*/ 87 w 87"/>
                <a:gd name="T3" fmla="*/ 0 h 107"/>
                <a:gd name="T4" fmla="*/ 87 w 87"/>
                <a:gd name="T5" fmla="*/ 12 h 107"/>
                <a:gd name="T6" fmla="*/ 0 w 87"/>
                <a:gd name="T7" fmla="*/ 107 h 107"/>
                <a:gd name="T8" fmla="*/ 0 w 87"/>
                <a:gd name="T9" fmla="*/ 9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4"/>
                  </a:moveTo>
                  <a:lnTo>
                    <a:pt x="87" y="0"/>
                  </a:lnTo>
                  <a:lnTo>
                    <a:pt x="87" y="12"/>
                  </a:lnTo>
                  <a:lnTo>
                    <a:pt x="0" y="10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98"/>
            <p:cNvSpPr>
              <a:spLocks/>
            </p:cNvSpPr>
            <p:nvPr/>
          </p:nvSpPr>
          <p:spPr bwMode="auto">
            <a:xfrm>
              <a:off x="4729164" y="1508125"/>
              <a:ext cx="34925" cy="42863"/>
            </a:xfrm>
            <a:custGeom>
              <a:avLst/>
              <a:gdLst>
                <a:gd name="T0" fmla="*/ 0 w 87"/>
                <a:gd name="T1" fmla="*/ 93 h 106"/>
                <a:gd name="T2" fmla="*/ 87 w 87"/>
                <a:gd name="T3" fmla="*/ 0 h 106"/>
                <a:gd name="T4" fmla="*/ 87 w 87"/>
                <a:gd name="T5" fmla="*/ 12 h 106"/>
                <a:gd name="T6" fmla="*/ 0 w 87"/>
                <a:gd name="T7" fmla="*/ 106 h 106"/>
                <a:gd name="T8" fmla="*/ 0 w 87"/>
                <a:gd name="T9" fmla="*/ 9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6">
                  <a:moveTo>
                    <a:pt x="0" y="93"/>
                  </a:moveTo>
                  <a:lnTo>
                    <a:pt x="87" y="0"/>
                  </a:lnTo>
                  <a:lnTo>
                    <a:pt x="87" y="12"/>
                  </a:lnTo>
                  <a:lnTo>
                    <a:pt x="0" y="106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99"/>
            <p:cNvSpPr>
              <a:spLocks/>
            </p:cNvSpPr>
            <p:nvPr/>
          </p:nvSpPr>
          <p:spPr bwMode="auto">
            <a:xfrm>
              <a:off x="4729164" y="1511300"/>
              <a:ext cx="34925" cy="41275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00"/>
            <p:cNvSpPr>
              <a:spLocks/>
            </p:cNvSpPr>
            <p:nvPr/>
          </p:nvSpPr>
          <p:spPr bwMode="auto">
            <a:xfrm>
              <a:off x="4729164" y="1512888"/>
              <a:ext cx="34925" cy="42863"/>
            </a:xfrm>
            <a:custGeom>
              <a:avLst/>
              <a:gdLst>
                <a:gd name="T0" fmla="*/ 0 w 87"/>
                <a:gd name="T1" fmla="*/ 94 h 107"/>
                <a:gd name="T2" fmla="*/ 87 w 87"/>
                <a:gd name="T3" fmla="*/ 0 h 107"/>
                <a:gd name="T4" fmla="*/ 87 w 87"/>
                <a:gd name="T5" fmla="*/ 12 h 107"/>
                <a:gd name="T6" fmla="*/ 0 w 87"/>
                <a:gd name="T7" fmla="*/ 107 h 107"/>
                <a:gd name="T8" fmla="*/ 0 w 87"/>
                <a:gd name="T9" fmla="*/ 9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4"/>
                  </a:moveTo>
                  <a:lnTo>
                    <a:pt x="87" y="0"/>
                  </a:lnTo>
                  <a:lnTo>
                    <a:pt x="87" y="12"/>
                  </a:lnTo>
                  <a:lnTo>
                    <a:pt x="0" y="10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01"/>
            <p:cNvSpPr>
              <a:spLocks/>
            </p:cNvSpPr>
            <p:nvPr/>
          </p:nvSpPr>
          <p:spPr bwMode="auto">
            <a:xfrm>
              <a:off x="4729164" y="1516063"/>
              <a:ext cx="34925" cy="42863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02"/>
            <p:cNvSpPr>
              <a:spLocks/>
            </p:cNvSpPr>
            <p:nvPr/>
          </p:nvSpPr>
          <p:spPr bwMode="auto">
            <a:xfrm>
              <a:off x="4729164" y="1517650"/>
              <a:ext cx="34925" cy="42863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03"/>
            <p:cNvSpPr>
              <a:spLocks/>
            </p:cNvSpPr>
            <p:nvPr/>
          </p:nvSpPr>
          <p:spPr bwMode="auto">
            <a:xfrm>
              <a:off x="4729164" y="1520825"/>
              <a:ext cx="34925" cy="42863"/>
            </a:xfrm>
            <a:custGeom>
              <a:avLst/>
              <a:gdLst>
                <a:gd name="T0" fmla="*/ 0 w 87"/>
                <a:gd name="T1" fmla="*/ 95 h 107"/>
                <a:gd name="T2" fmla="*/ 87 w 87"/>
                <a:gd name="T3" fmla="*/ 0 h 107"/>
                <a:gd name="T4" fmla="*/ 87 w 87"/>
                <a:gd name="T5" fmla="*/ 13 h 107"/>
                <a:gd name="T6" fmla="*/ 0 w 87"/>
                <a:gd name="T7" fmla="*/ 107 h 107"/>
                <a:gd name="T8" fmla="*/ 0 w 87"/>
                <a:gd name="T9" fmla="*/ 9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7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04"/>
            <p:cNvSpPr>
              <a:spLocks/>
            </p:cNvSpPr>
            <p:nvPr/>
          </p:nvSpPr>
          <p:spPr bwMode="auto">
            <a:xfrm>
              <a:off x="4729164" y="1524000"/>
              <a:ext cx="34925" cy="41275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05"/>
            <p:cNvSpPr>
              <a:spLocks/>
            </p:cNvSpPr>
            <p:nvPr/>
          </p:nvSpPr>
          <p:spPr bwMode="auto">
            <a:xfrm>
              <a:off x="4729164" y="1525588"/>
              <a:ext cx="34925" cy="42863"/>
            </a:xfrm>
            <a:custGeom>
              <a:avLst/>
              <a:gdLst>
                <a:gd name="T0" fmla="*/ 0 w 87"/>
                <a:gd name="T1" fmla="*/ 94 h 107"/>
                <a:gd name="T2" fmla="*/ 87 w 87"/>
                <a:gd name="T3" fmla="*/ 0 h 107"/>
                <a:gd name="T4" fmla="*/ 87 w 87"/>
                <a:gd name="T5" fmla="*/ 13 h 107"/>
                <a:gd name="T6" fmla="*/ 0 w 87"/>
                <a:gd name="T7" fmla="*/ 107 h 107"/>
                <a:gd name="T8" fmla="*/ 0 w 87"/>
                <a:gd name="T9" fmla="*/ 9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4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06"/>
            <p:cNvSpPr>
              <a:spLocks/>
            </p:cNvSpPr>
            <p:nvPr/>
          </p:nvSpPr>
          <p:spPr bwMode="auto">
            <a:xfrm>
              <a:off x="4729164" y="1528763"/>
              <a:ext cx="34925" cy="42863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08"/>
            <p:cNvSpPr>
              <a:spLocks/>
            </p:cNvSpPr>
            <p:nvPr/>
          </p:nvSpPr>
          <p:spPr bwMode="auto">
            <a:xfrm>
              <a:off x="4729164" y="1530350"/>
              <a:ext cx="34925" cy="42863"/>
            </a:xfrm>
            <a:custGeom>
              <a:avLst/>
              <a:gdLst>
                <a:gd name="T0" fmla="*/ 0 w 87"/>
                <a:gd name="T1" fmla="*/ 94 h 107"/>
                <a:gd name="T2" fmla="*/ 87 w 87"/>
                <a:gd name="T3" fmla="*/ 0 h 107"/>
                <a:gd name="T4" fmla="*/ 87 w 87"/>
                <a:gd name="T5" fmla="*/ 13 h 107"/>
                <a:gd name="T6" fmla="*/ 0 w 87"/>
                <a:gd name="T7" fmla="*/ 107 h 107"/>
                <a:gd name="T8" fmla="*/ 0 w 87"/>
                <a:gd name="T9" fmla="*/ 9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7">
                  <a:moveTo>
                    <a:pt x="0" y="94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7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09"/>
            <p:cNvSpPr>
              <a:spLocks/>
            </p:cNvSpPr>
            <p:nvPr/>
          </p:nvSpPr>
          <p:spPr bwMode="auto">
            <a:xfrm>
              <a:off x="4729164" y="1533525"/>
              <a:ext cx="34925" cy="42863"/>
            </a:xfrm>
            <a:custGeom>
              <a:avLst/>
              <a:gdLst>
                <a:gd name="T0" fmla="*/ 0 w 87"/>
                <a:gd name="T1" fmla="*/ 95 h 108"/>
                <a:gd name="T2" fmla="*/ 87 w 87"/>
                <a:gd name="T3" fmla="*/ 0 h 108"/>
                <a:gd name="T4" fmla="*/ 87 w 87"/>
                <a:gd name="T5" fmla="*/ 13 h 108"/>
                <a:gd name="T6" fmla="*/ 0 w 87"/>
                <a:gd name="T7" fmla="*/ 108 h 108"/>
                <a:gd name="T8" fmla="*/ 0 w 87"/>
                <a:gd name="T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10"/>
            <p:cNvSpPr>
              <a:spLocks/>
            </p:cNvSpPr>
            <p:nvPr/>
          </p:nvSpPr>
          <p:spPr bwMode="auto">
            <a:xfrm>
              <a:off x="4729164" y="1536700"/>
              <a:ext cx="34925" cy="41275"/>
            </a:xfrm>
            <a:custGeom>
              <a:avLst/>
              <a:gdLst>
                <a:gd name="T0" fmla="*/ 0 w 87"/>
                <a:gd name="T1" fmla="*/ 94 h 105"/>
                <a:gd name="T2" fmla="*/ 87 w 87"/>
                <a:gd name="T3" fmla="*/ 0 h 105"/>
                <a:gd name="T4" fmla="*/ 87 w 87"/>
                <a:gd name="T5" fmla="*/ 12 h 105"/>
                <a:gd name="T6" fmla="*/ 1 w 87"/>
                <a:gd name="T7" fmla="*/ 105 h 105"/>
                <a:gd name="T8" fmla="*/ 0 w 87"/>
                <a:gd name="T9" fmla="*/ 105 h 105"/>
                <a:gd name="T10" fmla="*/ 0 w 87"/>
                <a:gd name="T11" fmla="*/ 9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05">
                  <a:moveTo>
                    <a:pt x="0" y="94"/>
                  </a:moveTo>
                  <a:lnTo>
                    <a:pt x="87" y="0"/>
                  </a:lnTo>
                  <a:lnTo>
                    <a:pt x="87" y="12"/>
                  </a:lnTo>
                  <a:lnTo>
                    <a:pt x="1" y="105"/>
                  </a:lnTo>
                  <a:lnTo>
                    <a:pt x="0" y="105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11"/>
            <p:cNvSpPr>
              <a:spLocks/>
            </p:cNvSpPr>
            <p:nvPr/>
          </p:nvSpPr>
          <p:spPr bwMode="auto">
            <a:xfrm>
              <a:off x="4729164" y="1538288"/>
              <a:ext cx="34925" cy="39688"/>
            </a:xfrm>
            <a:custGeom>
              <a:avLst/>
              <a:gdLst>
                <a:gd name="T0" fmla="*/ 0 w 87"/>
                <a:gd name="T1" fmla="*/ 95 h 99"/>
                <a:gd name="T2" fmla="*/ 87 w 87"/>
                <a:gd name="T3" fmla="*/ 0 h 99"/>
                <a:gd name="T4" fmla="*/ 87 w 87"/>
                <a:gd name="T5" fmla="*/ 13 h 99"/>
                <a:gd name="T6" fmla="*/ 7 w 87"/>
                <a:gd name="T7" fmla="*/ 99 h 99"/>
                <a:gd name="T8" fmla="*/ 0 w 87"/>
                <a:gd name="T9" fmla="*/ 99 h 99"/>
                <a:gd name="T10" fmla="*/ 0 w 87"/>
                <a:gd name="T11" fmla="*/ 9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99">
                  <a:moveTo>
                    <a:pt x="0" y="95"/>
                  </a:moveTo>
                  <a:lnTo>
                    <a:pt x="87" y="0"/>
                  </a:lnTo>
                  <a:lnTo>
                    <a:pt x="87" y="13"/>
                  </a:lnTo>
                  <a:lnTo>
                    <a:pt x="7" y="99"/>
                  </a:lnTo>
                  <a:lnTo>
                    <a:pt x="0" y="9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412"/>
            <p:cNvSpPr>
              <a:spLocks/>
            </p:cNvSpPr>
            <p:nvPr/>
          </p:nvSpPr>
          <p:spPr bwMode="auto">
            <a:xfrm>
              <a:off x="4730752" y="1541463"/>
              <a:ext cx="33338" cy="36513"/>
            </a:xfrm>
            <a:custGeom>
              <a:avLst/>
              <a:gdLst>
                <a:gd name="T0" fmla="*/ 0 w 86"/>
                <a:gd name="T1" fmla="*/ 93 h 93"/>
                <a:gd name="T2" fmla="*/ 86 w 86"/>
                <a:gd name="T3" fmla="*/ 0 h 93"/>
                <a:gd name="T4" fmla="*/ 86 w 86"/>
                <a:gd name="T5" fmla="*/ 13 h 93"/>
                <a:gd name="T6" fmla="*/ 12 w 86"/>
                <a:gd name="T7" fmla="*/ 93 h 93"/>
                <a:gd name="T8" fmla="*/ 0 w 86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3">
                  <a:moveTo>
                    <a:pt x="0" y="93"/>
                  </a:moveTo>
                  <a:lnTo>
                    <a:pt x="86" y="0"/>
                  </a:lnTo>
                  <a:lnTo>
                    <a:pt x="86" y="13"/>
                  </a:lnTo>
                  <a:lnTo>
                    <a:pt x="12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413"/>
            <p:cNvSpPr>
              <a:spLocks/>
            </p:cNvSpPr>
            <p:nvPr/>
          </p:nvSpPr>
          <p:spPr bwMode="auto">
            <a:xfrm>
              <a:off x="4732339" y="1543050"/>
              <a:ext cx="31750" cy="34925"/>
            </a:xfrm>
            <a:custGeom>
              <a:avLst/>
              <a:gdLst>
                <a:gd name="T0" fmla="*/ 0 w 80"/>
                <a:gd name="T1" fmla="*/ 86 h 86"/>
                <a:gd name="T2" fmla="*/ 80 w 80"/>
                <a:gd name="T3" fmla="*/ 0 h 86"/>
                <a:gd name="T4" fmla="*/ 80 w 80"/>
                <a:gd name="T5" fmla="*/ 13 h 86"/>
                <a:gd name="T6" fmla="*/ 12 w 80"/>
                <a:gd name="T7" fmla="*/ 86 h 86"/>
                <a:gd name="T8" fmla="*/ 0 w 80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6">
                  <a:moveTo>
                    <a:pt x="0" y="86"/>
                  </a:moveTo>
                  <a:lnTo>
                    <a:pt x="80" y="0"/>
                  </a:lnTo>
                  <a:lnTo>
                    <a:pt x="80" y="13"/>
                  </a:lnTo>
                  <a:lnTo>
                    <a:pt x="12" y="86"/>
                  </a:lnTo>
                  <a:lnTo>
                    <a:pt x="0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14"/>
            <p:cNvSpPr>
              <a:spLocks/>
            </p:cNvSpPr>
            <p:nvPr/>
          </p:nvSpPr>
          <p:spPr bwMode="auto">
            <a:xfrm>
              <a:off x="4735514" y="1546225"/>
              <a:ext cx="28575" cy="31750"/>
            </a:xfrm>
            <a:custGeom>
              <a:avLst/>
              <a:gdLst>
                <a:gd name="T0" fmla="*/ 0 w 74"/>
                <a:gd name="T1" fmla="*/ 80 h 80"/>
                <a:gd name="T2" fmla="*/ 74 w 74"/>
                <a:gd name="T3" fmla="*/ 0 h 80"/>
                <a:gd name="T4" fmla="*/ 74 w 74"/>
                <a:gd name="T5" fmla="*/ 13 h 80"/>
                <a:gd name="T6" fmla="*/ 11 w 74"/>
                <a:gd name="T7" fmla="*/ 80 h 80"/>
                <a:gd name="T8" fmla="*/ 0 w 74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80">
                  <a:moveTo>
                    <a:pt x="0" y="80"/>
                  </a:moveTo>
                  <a:lnTo>
                    <a:pt x="74" y="0"/>
                  </a:lnTo>
                  <a:lnTo>
                    <a:pt x="74" y="13"/>
                  </a:lnTo>
                  <a:lnTo>
                    <a:pt x="11" y="80"/>
                  </a:lnTo>
                  <a:lnTo>
                    <a:pt x="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15"/>
            <p:cNvSpPr>
              <a:spLocks/>
            </p:cNvSpPr>
            <p:nvPr/>
          </p:nvSpPr>
          <p:spPr bwMode="auto">
            <a:xfrm>
              <a:off x="4737102" y="1549400"/>
              <a:ext cx="26988" cy="28575"/>
            </a:xfrm>
            <a:custGeom>
              <a:avLst/>
              <a:gdLst>
                <a:gd name="T0" fmla="*/ 0 w 68"/>
                <a:gd name="T1" fmla="*/ 73 h 73"/>
                <a:gd name="T2" fmla="*/ 68 w 68"/>
                <a:gd name="T3" fmla="*/ 0 h 73"/>
                <a:gd name="T4" fmla="*/ 68 w 68"/>
                <a:gd name="T5" fmla="*/ 13 h 73"/>
                <a:gd name="T6" fmla="*/ 12 w 68"/>
                <a:gd name="T7" fmla="*/ 73 h 73"/>
                <a:gd name="T8" fmla="*/ 0 w 68"/>
                <a:gd name="T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73">
                  <a:moveTo>
                    <a:pt x="0" y="73"/>
                  </a:moveTo>
                  <a:lnTo>
                    <a:pt x="68" y="0"/>
                  </a:lnTo>
                  <a:lnTo>
                    <a:pt x="68" y="13"/>
                  </a:lnTo>
                  <a:lnTo>
                    <a:pt x="12" y="73"/>
                  </a:lnTo>
                  <a:lnTo>
                    <a:pt x="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16"/>
            <p:cNvSpPr>
              <a:spLocks/>
            </p:cNvSpPr>
            <p:nvPr/>
          </p:nvSpPr>
          <p:spPr bwMode="auto">
            <a:xfrm>
              <a:off x="4740277" y="1550988"/>
              <a:ext cx="23813" cy="26988"/>
            </a:xfrm>
            <a:custGeom>
              <a:avLst/>
              <a:gdLst>
                <a:gd name="T0" fmla="*/ 0 w 63"/>
                <a:gd name="T1" fmla="*/ 67 h 67"/>
                <a:gd name="T2" fmla="*/ 63 w 63"/>
                <a:gd name="T3" fmla="*/ 0 h 67"/>
                <a:gd name="T4" fmla="*/ 63 w 63"/>
                <a:gd name="T5" fmla="*/ 13 h 67"/>
                <a:gd name="T6" fmla="*/ 12 w 63"/>
                <a:gd name="T7" fmla="*/ 67 h 67"/>
                <a:gd name="T8" fmla="*/ 0 w 63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67">
                  <a:moveTo>
                    <a:pt x="0" y="67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2" y="67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17"/>
            <p:cNvSpPr>
              <a:spLocks/>
            </p:cNvSpPr>
            <p:nvPr/>
          </p:nvSpPr>
          <p:spPr bwMode="auto">
            <a:xfrm>
              <a:off x="4741864" y="1554163"/>
              <a:ext cx="22225" cy="23813"/>
            </a:xfrm>
            <a:custGeom>
              <a:avLst/>
              <a:gdLst>
                <a:gd name="T0" fmla="*/ 0 w 56"/>
                <a:gd name="T1" fmla="*/ 60 h 60"/>
                <a:gd name="T2" fmla="*/ 56 w 56"/>
                <a:gd name="T3" fmla="*/ 0 h 60"/>
                <a:gd name="T4" fmla="*/ 56 w 56"/>
                <a:gd name="T5" fmla="*/ 13 h 60"/>
                <a:gd name="T6" fmla="*/ 12 w 56"/>
                <a:gd name="T7" fmla="*/ 60 h 60"/>
                <a:gd name="T8" fmla="*/ 0 w 56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0">
                  <a:moveTo>
                    <a:pt x="0" y="60"/>
                  </a:moveTo>
                  <a:lnTo>
                    <a:pt x="56" y="0"/>
                  </a:lnTo>
                  <a:lnTo>
                    <a:pt x="56" y="13"/>
                  </a:lnTo>
                  <a:lnTo>
                    <a:pt x="12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18"/>
            <p:cNvSpPr>
              <a:spLocks/>
            </p:cNvSpPr>
            <p:nvPr/>
          </p:nvSpPr>
          <p:spPr bwMode="auto">
            <a:xfrm>
              <a:off x="4745039" y="1557338"/>
              <a:ext cx="19050" cy="20638"/>
            </a:xfrm>
            <a:custGeom>
              <a:avLst/>
              <a:gdLst>
                <a:gd name="T0" fmla="*/ 0 w 51"/>
                <a:gd name="T1" fmla="*/ 54 h 54"/>
                <a:gd name="T2" fmla="*/ 51 w 51"/>
                <a:gd name="T3" fmla="*/ 0 h 54"/>
                <a:gd name="T4" fmla="*/ 51 w 51"/>
                <a:gd name="T5" fmla="*/ 12 h 54"/>
                <a:gd name="T6" fmla="*/ 12 w 51"/>
                <a:gd name="T7" fmla="*/ 54 h 54"/>
                <a:gd name="T8" fmla="*/ 0 w 51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4">
                  <a:moveTo>
                    <a:pt x="0" y="54"/>
                  </a:moveTo>
                  <a:lnTo>
                    <a:pt x="51" y="0"/>
                  </a:lnTo>
                  <a:lnTo>
                    <a:pt x="51" y="12"/>
                  </a:lnTo>
                  <a:lnTo>
                    <a:pt x="12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419"/>
            <p:cNvSpPr>
              <a:spLocks/>
            </p:cNvSpPr>
            <p:nvPr/>
          </p:nvSpPr>
          <p:spPr bwMode="auto">
            <a:xfrm>
              <a:off x="4746627" y="1558925"/>
              <a:ext cx="17463" cy="19050"/>
            </a:xfrm>
            <a:custGeom>
              <a:avLst/>
              <a:gdLst>
                <a:gd name="T0" fmla="*/ 0 w 44"/>
                <a:gd name="T1" fmla="*/ 47 h 47"/>
                <a:gd name="T2" fmla="*/ 44 w 44"/>
                <a:gd name="T3" fmla="*/ 0 h 47"/>
                <a:gd name="T4" fmla="*/ 44 w 44"/>
                <a:gd name="T5" fmla="*/ 11 h 47"/>
                <a:gd name="T6" fmla="*/ 11 w 44"/>
                <a:gd name="T7" fmla="*/ 47 h 47"/>
                <a:gd name="T8" fmla="*/ 0 w 4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7">
                  <a:moveTo>
                    <a:pt x="0" y="47"/>
                  </a:moveTo>
                  <a:lnTo>
                    <a:pt x="44" y="0"/>
                  </a:lnTo>
                  <a:lnTo>
                    <a:pt x="44" y="11"/>
                  </a:lnTo>
                  <a:lnTo>
                    <a:pt x="11" y="47"/>
                  </a:lnTo>
                  <a:lnTo>
                    <a:pt x="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420"/>
            <p:cNvSpPr>
              <a:spLocks/>
            </p:cNvSpPr>
            <p:nvPr/>
          </p:nvSpPr>
          <p:spPr bwMode="auto">
            <a:xfrm>
              <a:off x="4749802" y="1562100"/>
              <a:ext cx="14288" cy="15875"/>
            </a:xfrm>
            <a:custGeom>
              <a:avLst/>
              <a:gdLst>
                <a:gd name="T0" fmla="*/ 0 w 39"/>
                <a:gd name="T1" fmla="*/ 42 h 42"/>
                <a:gd name="T2" fmla="*/ 39 w 39"/>
                <a:gd name="T3" fmla="*/ 0 h 42"/>
                <a:gd name="T4" fmla="*/ 39 w 39"/>
                <a:gd name="T5" fmla="*/ 13 h 42"/>
                <a:gd name="T6" fmla="*/ 12 w 39"/>
                <a:gd name="T7" fmla="*/ 42 h 42"/>
                <a:gd name="T8" fmla="*/ 0 w 39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2">
                  <a:moveTo>
                    <a:pt x="0" y="42"/>
                  </a:moveTo>
                  <a:lnTo>
                    <a:pt x="39" y="0"/>
                  </a:lnTo>
                  <a:lnTo>
                    <a:pt x="39" y="13"/>
                  </a:lnTo>
                  <a:lnTo>
                    <a:pt x="12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421"/>
            <p:cNvSpPr>
              <a:spLocks/>
            </p:cNvSpPr>
            <p:nvPr/>
          </p:nvSpPr>
          <p:spPr bwMode="auto">
            <a:xfrm>
              <a:off x="4751389" y="1563688"/>
              <a:ext cx="12700" cy="14288"/>
            </a:xfrm>
            <a:custGeom>
              <a:avLst/>
              <a:gdLst>
                <a:gd name="T0" fmla="*/ 0 w 33"/>
                <a:gd name="T1" fmla="*/ 36 h 36"/>
                <a:gd name="T2" fmla="*/ 33 w 33"/>
                <a:gd name="T3" fmla="*/ 0 h 36"/>
                <a:gd name="T4" fmla="*/ 33 w 33"/>
                <a:gd name="T5" fmla="*/ 13 h 36"/>
                <a:gd name="T6" fmla="*/ 12 w 33"/>
                <a:gd name="T7" fmla="*/ 36 h 36"/>
                <a:gd name="T8" fmla="*/ 0 w 33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6">
                  <a:moveTo>
                    <a:pt x="0" y="36"/>
                  </a:moveTo>
                  <a:lnTo>
                    <a:pt x="33" y="0"/>
                  </a:lnTo>
                  <a:lnTo>
                    <a:pt x="33" y="13"/>
                  </a:lnTo>
                  <a:lnTo>
                    <a:pt x="12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422"/>
            <p:cNvSpPr>
              <a:spLocks/>
            </p:cNvSpPr>
            <p:nvPr/>
          </p:nvSpPr>
          <p:spPr bwMode="auto">
            <a:xfrm>
              <a:off x="4752977" y="1566863"/>
              <a:ext cx="11113" cy="11113"/>
            </a:xfrm>
            <a:custGeom>
              <a:avLst/>
              <a:gdLst>
                <a:gd name="T0" fmla="*/ 0 w 27"/>
                <a:gd name="T1" fmla="*/ 29 h 29"/>
                <a:gd name="T2" fmla="*/ 27 w 27"/>
                <a:gd name="T3" fmla="*/ 0 h 29"/>
                <a:gd name="T4" fmla="*/ 27 w 27"/>
                <a:gd name="T5" fmla="*/ 13 h 29"/>
                <a:gd name="T6" fmla="*/ 12 w 27"/>
                <a:gd name="T7" fmla="*/ 29 h 29"/>
                <a:gd name="T8" fmla="*/ 0 w 2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9">
                  <a:moveTo>
                    <a:pt x="0" y="29"/>
                  </a:moveTo>
                  <a:lnTo>
                    <a:pt x="27" y="0"/>
                  </a:lnTo>
                  <a:lnTo>
                    <a:pt x="27" y="13"/>
                  </a:lnTo>
                  <a:lnTo>
                    <a:pt x="12" y="2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423"/>
            <p:cNvSpPr>
              <a:spLocks/>
            </p:cNvSpPr>
            <p:nvPr/>
          </p:nvSpPr>
          <p:spPr bwMode="auto">
            <a:xfrm>
              <a:off x="4756152" y="1568450"/>
              <a:ext cx="7938" cy="9525"/>
            </a:xfrm>
            <a:custGeom>
              <a:avLst/>
              <a:gdLst>
                <a:gd name="T0" fmla="*/ 0 w 21"/>
                <a:gd name="T1" fmla="*/ 23 h 23"/>
                <a:gd name="T2" fmla="*/ 21 w 21"/>
                <a:gd name="T3" fmla="*/ 0 h 23"/>
                <a:gd name="T4" fmla="*/ 21 w 21"/>
                <a:gd name="T5" fmla="*/ 13 h 23"/>
                <a:gd name="T6" fmla="*/ 12 w 21"/>
                <a:gd name="T7" fmla="*/ 23 h 23"/>
                <a:gd name="T8" fmla="*/ 0 w 21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3">
                  <a:moveTo>
                    <a:pt x="0" y="23"/>
                  </a:moveTo>
                  <a:lnTo>
                    <a:pt x="21" y="0"/>
                  </a:lnTo>
                  <a:lnTo>
                    <a:pt x="21" y="13"/>
                  </a:lnTo>
                  <a:lnTo>
                    <a:pt x="12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424"/>
            <p:cNvSpPr>
              <a:spLocks/>
            </p:cNvSpPr>
            <p:nvPr/>
          </p:nvSpPr>
          <p:spPr bwMode="auto">
            <a:xfrm>
              <a:off x="4757739" y="1571625"/>
              <a:ext cx="6350" cy="6350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3 h 16"/>
                <a:gd name="T6" fmla="*/ 11 w 15"/>
                <a:gd name="T7" fmla="*/ 16 h 16"/>
                <a:gd name="T8" fmla="*/ 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3"/>
                  </a:lnTo>
                  <a:lnTo>
                    <a:pt x="11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425"/>
            <p:cNvSpPr>
              <a:spLocks/>
            </p:cNvSpPr>
            <p:nvPr/>
          </p:nvSpPr>
          <p:spPr bwMode="auto">
            <a:xfrm>
              <a:off x="4760914" y="1574800"/>
              <a:ext cx="3175" cy="3175"/>
            </a:xfrm>
            <a:custGeom>
              <a:avLst/>
              <a:gdLst>
                <a:gd name="T0" fmla="*/ 0 w 9"/>
                <a:gd name="T1" fmla="*/ 10 h 10"/>
                <a:gd name="T2" fmla="*/ 9 w 9"/>
                <a:gd name="T3" fmla="*/ 0 h 10"/>
                <a:gd name="T4" fmla="*/ 9 w 9"/>
                <a:gd name="T5" fmla="*/ 10 h 10"/>
                <a:gd name="T6" fmla="*/ 0 w 9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0">
                  <a:moveTo>
                    <a:pt x="0" y="10"/>
                  </a:moveTo>
                  <a:lnTo>
                    <a:pt x="9" y="0"/>
                  </a:lnTo>
                  <a:lnTo>
                    <a:pt x="9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426"/>
            <p:cNvSpPr>
              <a:spLocks/>
            </p:cNvSpPr>
            <p:nvPr/>
          </p:nvSpPr>
          <p:spPr bwMode="auto">
            <a:xfrm>
              <a:off x="4762502" y="1576388"/>
              <a:ext cx="1588" cy="1588"/>
            </a:xfrm>
            <a:custGeom>
              <a:avLst/>
              <a:gdLst>
                <a:gd name="T0" fmla="*/ 0 w 4"/>
                <a:gd name="T1" fmla="*/ 3 h 3"/>
                <a:gd name="T2" fmla="*/ 4 w 4"/>
                <a:gd name="T3" fmla="*/ 0 h 3"/>
                <a:gd name="T4" fmla="*/ 4 w 4"/>
                <a:gd name="T5" fmla="*/ 3 h 3"/>
                <a:gd name="T6" fmla="*/ 0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lnTo>
                    <a:pt x="4" y="0"/>
                  </a:lnTo>
                  <a:lnTo>
                    <a:pt x="4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Rectangle 427"/>
            <p:cNvSpPr>
              <a:spLocks noChangeArrowheads="1"/>
            </p:cNvSpPr>
            <p:nvPr/>
          </p:nvSpPr>
          <p:spPr bwMode="auto">
            <a:xfrm>
              <a:off x="4729164" y="1490663"/>
              <a:ext cx="34925" cy="87313"/>
            </a:xfrm>
            <a:prstGeom prst="rect">
              <a:avLst/>
            </a:prstGeom>
            <a:solidFill>
              <a:srgbClr val="FFFFFF"/>
            </a:solidFill>
            <a:ln w="4">
              <a:solidFill>
                <a:srgbClr val="1F1A17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428"/>
            <p:cNvSpPr>
              <a:spLocks/>
            </p:cNvSpPr>
            <p:nvPr/>
          </p:nvSpPr>
          <p:spPr bwMode="auto">
            <a:xfrm>
              <a:off x="4783139" y="1471613"/>
              <a:ext cx="3175" cy="4763"/>
            </a:xfrm>
            <a:custGeom>
              <a:avLst/>
              <a:gdLst>
                <a:gd name="T0" fmla="*/ 10 w 10"/>
                <a:gd name="T1" fmla="*/ 0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10" y="0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429"/>
            <p:cNvSpPr>
              <a:spLocks/>
            </p:cNvSpPr>
            <p:nvPr/>
          </p:nvSpPr>
          <p:spPr bwMode="auto">
            <a:xfrm>
              <a:off x="4783139" y="1471613"/>
              <a:ext cx="6350" cy="7938"/>
            </a:xfrm>
            <a:custGeom>
              <a:avLst/>
              <a:gdLst>
                <a:gd name="T0" fmla="*/ 0 w 17"/>
                <a:gd name="T1" fmla="*/ 3 h 19"/>
                <a:gd name="T2" fmla="*/ 3 w 17"/>
                <a:gd name="T3" fmla="*/ 0 h 19"/>
                <a:gd name="T4" fmla="*/ 17 w 17"/>
                <a:gd name="T5" fmla="*/ 0 h 19"/>
                <a:gd name="T6" fmla="*/ 0 w 17"/>
                <a:gd name="T7" fmla="*/ 19 h 19"/>
                <a:gd name="T8" fmla="*/ 0 w 17"/>
                <a:gd name="T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9">
                  <a:moveTo>
                    <a:pt x="0" y="3"/>
                  </a:moveTo>
                  <a:lnTo>
                    <a:pt x="3" y="0"/>
                  </a:lnTo>
                  <a:lnTo>
                    <a:pt x="17" y="0"/>
                  </a:lnTo>
                  <a:lnTo>
                    <a:pt x="0" y="19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430"/>
            <p:cNvSpPr>
              <a:spLocks/>
            </p:cNvSpPr>
            <p:nvPr/>
          </p:nvSpPr>
          <p:spPr bwMode="auto">
            <a:xfrm>
              <a:off x="4783139" y="1471613"/>
              <a:ext cx="9525" cy="11113"/>
            </a:xfrm>
            <a:custGeom>
              <a:avLst/>
              <a:gdLst>
                <a:gd name="T0" fmla="*/ 0 w 24"/>
                <a:gd name="T1" fmla="*/ 11 h 26"/>
                <a:gd name="T2" fmla="*/ 10 w 24"/>
                <a:gd name="T3" fmla="*/ 0 h 26"/>
                <a:gd name="T4" fmla="*/ 24 w 24"/>
                <a:gd name="T5" fmla="*/ 0 h 26"/>
                <a:gd name="T6" fmla="*/ 0 w 24"/>
                <a:gd name="T7" fmla="*/ 26 h 26"/>
                <a:gd name="T8" fmla="*/ 0 w 24"/>
                <a:gd name="T9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0" y="0"/>
                  </a:lnTo>
                  <a:lnTo>
                    <a:pt x="24" y="0"/>
                  </a:lnTo>
                  <a:lnTo>
                    <a:pt x="0" y="26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431"/>
            <p:cNvSpPr>
              <a:spLocks/>
            </p:cNvSpPr>
            <p:nvPr/>
          </p:nvSpPr>
          <p:spPr bwMode="auto">
            <a:xfrm>
              <a:off x="4783139" y="1471613"/>
              <a:ext cx="11113" cy="14288"/>
            </a:xfrm>
            <a:custGeom>
              <a:avLst/>
              <a:gdLst>
                <a:gd name="T0" fmla="*/ 0 w 30"/>
                <a:gd name="T1" fmla="*/ 19 h 34"/>
                <a:gd name="T2" fmla="*/ 17 w 30"/>
                <a:gd name="T3" fmla="*/ 0 h 34"/>
                <a:gd name="T4" fmla="*/ 30 w 30"/>
                <a:gd name="T5" fmla="*/ 0 h 34"/>
                <a:gd name="T6" fmla="*/ 0 w 30"/>
                <a:gd name="T7" fmla="*/ 34 h 34"/>
                <a:gd name="T8" fmla="*/ 0 w 30"/>
                <a:gd name="T9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4">
                  <a:moveTo>
                    <a:pt x="0" y="19"/>
                  </a:moveTo>
                  <a:lnTo>
                    <a:pt x="17" y="0"/>
                  </a:lnTo>
                  <a:lnTo>
                    <a:pt x="30" y="0"/>
                  </a:lnTo>
                  <a:lnTo>
                    <a:pt x="0" y="34"/>
                  </a:lnTo>
                  <a:lnTo>
                    <a:pt x="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432"/>
            <p:cNvSpPr>
              <a:spLocks/>
            </p:cNvSpPr>
            <p:nvPr/>
          </p:nvSpPr>
          <p:spPr bwMode="auto">
            <a:xfrm>
              <a:off x="4783139" y="1471613"/>
              <a:ext cx="14288" cy="17463"/>
            </a:xfrm>
            <a:custGeom>
              <a:avLst/>
              <a:gdLst>
                <a:gd name="T0" fmla="*/ 0 w 37"/>
                <a:gd name="T1" fmla="*/ 26 h 41"/>
                <a:gd name="T2" fmla="*/ 24 w 37"/>
                <a:gd name="T3" fmla="*/ 0 h 41"/>
                <a:gd name="T4" fmla="*/ 37 w 37"/>
                <a:gd name="T5" fmla="*/ 0 h 41"/>
                <a:gd name="T6" fmla="*/ 0 w 37"/>
                <a:gd name="T7" fmla="*/ 41 h 41"/>
                <a:gd name="T8" fmla="*/ 0 w 37"/>
                <a:gd name="T9" fmla="*/ 2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41">
                  <a:moveTo>
                    <a:pt x="0" y="26"/>
                  </a:moveTo>
                  <a:lnTo>
                    <a:pt x="24" y="0"/>
                  </a:lnTo>
                  <a:lnTo>
                    <a:pt x="37" y="0"/>
                  </a:lnTo>
                  <a:lnTo>
                    <a:pt x="0" y="41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433"/>
            <p:cNvSpPr>
              <a:spLocks/>
            </p:cNvSpPr>
            <p:nvPr/>
          </p:nvSpPr>
          <p:spPr bwMode="auto">
            <a:xfrm>
              <a:off x="4783139" y="1471613"/>
              <a:ext cx="17463" cy="19050"/>
            </a:xfrm>
            <a:custGeom>
              <a:avLst/>
              <a:gdLst>
                <a:gd name="T0" fmla="*/ 0 w 44"/>
                <a:gd name="T1" fmla="*/ 34 h 49"/>
                <a:gd name="T2" fmla="*/ 30 w 44"/>
                <a:gd name="T3" fmla="*/ 0 h 49"/>
                <a:gd name="T4" fmla="*/ 44 w 44"/>
                <a:gd name="T5" fmla="*/ 0 h 49"/>
                <a:gd name="T6" fmla="*/ 0 w 44"/>
                <a:gd name="T7" fmla="*/ 49 h 49"/>
                <a:gd name="T8" fmla="*/ 0 w 44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9">
                  <a:moveTo>
                    <a:pt x="0" y="34"/>
                  </a:moveTo>
                  <a:lnTo>
                    <a:pt x="30" y="0"/>
                  </a:lnTo>
                  <a:lnTo>
                    <a:pt x="44" y="0"/>
                  </a:lnTo>
                  <a:lnTo>
                    <a:pt x="0" y="49"/>
                  </a:lnTo>
                  <a:lnTo>
                    <a:pt x="0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34"/>
            <p:cNvSpPr>
              <a:spLocks/>
            </p:cNvSpPr>
            <p:nvPr/>
          </p:nvSpPr>
          <p:spPr bwMode="auto">
            <a:xfrm>
              <a:off x="4783139" y="1471613"/>
              <a:ext cx="19050" cy="22225"/>
            </a:xfrm>
            <a:custGeom>
              <a:avLst/>
              <a:gdLst>
                <a:gd name="T0" fmla="*/ 0 w 51"/>
                <a:gd name="T1" fmla="*/ 41 h 55"/>
                <a:gd name="T2" fmla="*/ 37 w 51"/>
                <a:gd name="T3" fmla="*/ 0 h 55"/>
                <a:gd name="T4" fmla="*/ 51 w 51"/>
                <a:gd name="T5" fmla="*/ 0 h 55"/>
                <a:gd name="T6" fmla="*/ 0 w 51"/>
                <a:gd name="T7" fmla="*/ 55 h 55"/>
                <a:gd name="T8" fmla="*/ 0 w 51"/>
                <a:gd name="T9" fmla="*/ 4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5">
                  <a:moveTo>
                    <a:pt x="0" y="41"/>
                  </a:moveTo>
                  <a:lnTo>
                    <a:pt x="37" y="0"/>
                  </a:lnTo>
                  <a:lnTo>
                    <a:pt x="51" y="0"/>
                  </a:lnTo>
                  <a:lnTo>
                    <a:pt x="0" y="55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35"/>
            <p:cNvSpPr>
              <a:spLocks/>
            </p:cNvSpPr>
            <p:nvPr/>
          </p:nvSpPr>
          <p:spPr bwMode="auto">
            <a:xfrm>
              <a:off x="4783139" y="1471613"/>
              <a:ext cx="22225" cy="25400"/>
            </a:xfrm>
            <a:custGeom>
              <a:avLst/>
              <a:gdLst>
                <a:gd name="T0" fmla="*/ 0 w 57"/>
                <a:gd name="T1" fmla="*/ 49 h 63"/>
                <a:gd name="T2" fmla="*/ 44 w 57"/>
                <a:gd name="T3" fmla="*/ 0 h 63"/>
                <a:gd name="T4" fmla="*/ 57 w 57"/>
                <a:gd name="T5" fmla="*/ 0 h 63"/>
                <a:gd name="T6" fmla="*/ 0 w 57"/>
                <a:gd name="T7" fmla="*/ 63 h 63"/>
                <a:gd name="T8" fmla="*/ 0 w 57"/>
                <a:gd name="T9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3">
                  <a:moveTo>
                    <a:pt x="0" y="49"/>
                  </a:moveTo>
                  <a:lnTo>
                    <a:pt x="44" y="0"/>
                  </a:lnTo>
                  <a:lnTo>
                    <a:pt x="57" y="0"/>
                  </a:lnTo>
                  <a:lnTo>
                    <a:pt x="0" y="63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436"/>
            <p:cNvSpPr>
              <a:spLocks/>
            </p:cNvSpPr>
            <p:nvPr/>
          </p:nvSpPr>
          <p:spPr bwMode="auto">
            <a:xfrm>
              <a:off x="4783139" y="1471613"/>
              <a:ext cx="25400" cy="28575"/>
            </a:xfrm>
            <a:custGeom>
              <a:avLst/>
              <a:gdLst>
                <a:gd name="T0" fmla="*/ 0 w 64"/>
                <a:gd name="T1" fmla="*/ 55 h 70"/>
                <a:gd name="T2" fmla="*/ 51 w 64"/>
                <a:gd name="T3" fmla="*/ 0 h 70"/>
                <a:gd name="T4" fmla="*/ 64 w 64"/>
                <a:gd name="T5" fmla="*/ 0 h 70"/>
                <a:gd name="T6" fmla="*/ 0 w 64"/>
                <a:gd name="T7" fmla="*/ 70 h 70"/>
                <a:gd name="T8" fmla="*/ 0 w 64"/>
                <a:gd name="T9" fmla="*/ 5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70">
                  <a:moveTo>
                    <a:pt x="0" y="55"/>
                  </a:moveTo>
                  <a:lnTo>
                    <a:pt x="51" y="0"/>
                  </a:lnTo>
                  <a:lnTo>
                    <a:pt x="64" y="0"/>
                  </a:lnTo>
                  <a:lnTo>
                    <a:pt x="0" y="70"/>
                  </a:lnTo>
                  <a:lnTo>
                    <a:pt x="0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7"/>
            <p:cNvSpPr>
              <a:spLocks/>
            </p:cNvSpPr>
            <p:nvPr/>
          </p:nvSpPr>
          <p:spPr bwMode="auto">
            <a:xfrm>
              <a:off x="4783139" y="1471613"/>
              <a:ext cx="26988" cy="31750"/>
            </a:xfrm>
            <a:custGeom>
              <a:avLst/>
              <a:gdLst>
                <a:gd name="T0" fmla="*/ 0 w 71"/>
                <a:gd name="T1" fmla="*/ 63 h 78"/>
                <a:gd name="T2" fmla="*/ 57 w 71"/>
                <a:gd name="T3" fmla="*/ 0 h 78"/>
                <a:gd name="T4" fmla="*/ 71 w 71"/>
                <a:gd name="T5" fmla="*/ 0 h 78"/>
                <a:gd name="T6" fmla="*/ 0 w 71"/>
                <a:gd name="T7" fmla="*/ 78 h 78"/>
                <a:gd name="T8" fmla="*/ 0 w 71"/>
                <a:gd name="T9" fmla="*/ 6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8">
                  <a:moveTo>
                    <a:pt x="0" y="63"/>
                  </a:moveTo>
                  <a:lnTo>
                    <a:pt x="57" y="0"/>
                  </a:lnTo>
                  <a:lnTo>
                    <a:pt x="71" y="0"/>
                  </a:lnTo>
                  <a:lnTo>
                    <a:pt x="0" y="78"/>
                  </a:lnTo>
                  <a:lnTo>
                    <a:pt x="0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38"/>
            <p:cNvSpPr>
              <a:spLocks/>
            </p:cNvSpPr>
            <p:nvPr/>
          </p:nvSpPr>
          <p:spPr bwMode="auto">
            <a:xfrm>
              <a:off x="4783139" y="1471613"/>
              <a:ext cx="30163" cy="34925"/>
            </a:xfrm>
            <a:custGeom>
              <a:avLst/>
              <a:gdLst>
                <a:gd name="T0" fmla="*/ 0 w 77"/>
                <a:gd name="T1" fmla="*/ 70 h 85"/>
                <a:gd name="T2" fmla="*/ 64 w 77"/>
                <a:gd name="T3" fmla="*/ 0 h 85"/>
                <a:gd name="T4" fmla="*/ 77 w 77"/>
                <a:gd name="T5" fmla="*/ 0 h 85"/>
                <a:gd name="T6" fmla="*/ 0 w 77"/>
                <a:gd name="T7" fmla="*/ 85 h 85"/>
                <a:gd name="T8" fmla="*/ 0 w 77"/>
                <a:gd name="T9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5">
                  <a:moveTo>
                    <a:pt x="0" y="70"/>
                  </a:moveTo>
                  <a:lnTo>
                    <a:pt x="64" y="0"/>
                  </a:lnTo>
                  <a:lnTo>
                    <a:pt x="77" y="0"/>
                  </a:lnTo>
                  <a:lnTo>
                    <a:pt x="0" y="85"/>
                  </a:ln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39"/>
            <p:cNvSpPr>
              <a:spLocks/>
            </p:cNvSpPr>
            <p:nvPr/>
          </p:nvSpPr>
          <p:spPr bwMode="auto">
            <a:xfrm>
              <a:off x="4783139" y="1471613"/>
              <a:ext cx="33338" cy="36513"/>
            </a:xfrm>
            <a:custGeom>
              <a:avLst/>
              <a:gdLst>
                <a:gd name="T0" fmla="*/ 0 w 85"/>
                <a:gd name="T1" fmla="*/ 78 h 93"/>
                <a:gd name="T2" fmla="*/ 71 w 85"/>
                <a:gd name="T3" fmla="*/ 0 h 93"/>
                <a:gd name="T4" fmla="*/ 85 w 85"/>
                <a:gd name="T5" fmla="*/ 0 h 93"/>
                <a:gd name="T6" fmla="*/ 0 w 85"/>
                <a:gd name="T7" fmla="*/ 93 h 93"/>
                <a:gd name="T8" fmla="*/ 0 w 85"/>
                <a:gd name="T9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3">
                  <a:moveTo>
                    <a:pt x="0" y="78"/>
                  </a:moveTo>
                  <a:lnTo>
                    <a:pt x="71" y="0"/>
                  </a:lnTo>
                  <a:lnTo>
                    <a:pt x="85" y="0"/>
                  </a:lnTo>
                  <a:lnTo>
                    <a:pt x="0" y="93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40"/>
            <p:cNvSpPr>
              <a:spLocks/>
            </p:cNvSpPr>
            <p:nvPr/>
          </p:nvSpPr>
          <p:spPr bwMode="auto">
            <a:xfrm>
              <a:off x="4783139" y="1471613"/>
              <a:ext cx="34925" cy="39688"/>
            </a:xfrm>
            <a:custGeom>
              <a:avLst/>
              <a:gdLst>
                <a:gd name="T0" fmla="*/ 0 w 87"/>
                <a:gd name="T1" fmla="*/ 85 h 100"/>
                <a:gd name="T2" fmla="*/ 77 w 87"/>
                <a:gd name="T3" fmla="*/ 0 h 100"/>
                <a:gd name="T4" fmla="*/ 87 w 87"/>
                <a:gd name="T5" fmla="*/ 0 h 100"/>
                <a:gd name="T6" fmla="*/ 87 w 87"/>
                <a:gd name="T7" fmla="*/ 0 h 100"/>
                <a:gd name="T8" fmla="*/ 87 w 87"/>
                <a:gd name="T9" fmla="*/ 6 h 100"/>
                <a:gd name="T10" fmla="*/ 0 w 87"/>
                <a:gd name="T11" fmla="*/ 100 h 100"/>
                <a:gd name="T12" fmla="*/ 0 w 87"/>
                <a:gd name="T13" fmla="*/ 8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0" y="85"/>
                  </a:moveTo>
                  <a:lnTo>
                    <a:pt x="77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6"/>
                  </a:lnTo>
                  <a:lnTo>
                    <a:pt x="0" y="100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41"/>
            <p:cNvSpPr>
              <a:spLocks/>
            </p:cNvSpPr>
            <p:nvPr/>
          </p:nvSpPr>
          <p:spPr bwMode="auto">
            <a:xfrm>
              <a:off x="4783139" y="1471613"/>
              <a:ext cx="34925" cy="42863"/>
            </a:xfrm>
            <a:custGeom>
              <a:avLst/>
              <a:gdLst>
                <a:gd name="T0" fmla="*/ 0 w 87"/>
                <a:gd name="T1" fmla="*/ 93 h 108"/>
                <a:gd name="T2" fmla="*/ 85 w 87"/>
                <a:gd name="T3" fmla="*/ 0 h 108"/>
                <a:gd name="T4" fmla="*/ 87 w 87"/>
                <a:gd name="T5" fmla="*/ 0 h 108"/>
                <a:gd name="T6" fmla="*/ 87 w 87"/>
                <a:gd name="T7" fmla="*/ 0 h 108"/>
                <a:gd name="T8" fmla="*/ 87 w 87"/>
                <a:gd name="T9" fmla="*/ 13 h 108"/>
                <a:gd name="T10" fmla="*/ 0 w 87"/>
                <a:gd name="T11" fmla="*/ 108 h 108"/>
                <a:gd name="T12" fmla="*/ 0 w 87"/>
                <a:gd name="T13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8">
                  <a:moveTo>
                    <a:pt x="0" y="93"/>
                  </a:moveTo>
                  <a:lnTo>
                    <a:pt x="85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13"/>
                  </a:lnTo>
                  <a:lnTo>
                    <a:pt x="0" y="108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42"/>
            <p:cNvSpPr>
              <a:spLocks/>
            </p:cNvSpPr>
            <p:nvPr/>
          </p:nvSpPr>
          <p:spPr bwMode="auto">
            <a:xfrm>
              <a:off x="4783139" y="1474788"/>
              <a:ext cx="34925" cy="42863"/>
            </a:xfrm>
            <a:custGeom>
              <a:avLst/>
              <a:gdLst>
                <a:gd name="T0" fmla="*/ 0 w 87"/>
                <a:gd name="T1" fmla="*/ 94 h 108"/>
                <a:gd name="T2" fmla="*/ 87 w 87"/>
                <a:gd name="T3" fmla="*/ 0 h 108"/>
                <a:gd name="T4" fmla="*/ 87 w 87"/>
                <a:gd name="T5" fmla="*/ 15 h 108"/>
                <a:gd name="T6" fmla="*/ 0 w 87"/>
                <a:gd name="T7" fmla="*/ 108 h 108"/>
                <a:gd name="T8" fmla="*/ 0 w 87"/>
                <a:gd name="T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4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8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43"/>
            <p:cNvSpPr>
              <a:spLocks/>
            </p:cNvSpPr>
            <p:nvPr/>
          </p:nvSpPr>
          <p:spPr bwMode="auto">
            <a:xfrm>
              <a:off x="4783139" y="1477963"/>
              <a:ext cx="34925" cy="42863"/>
            </a:xfrm>
            <a:custGeom>
              <a:avLst/>
              <a:gdLst>
                <a:gd name="T0" fmla="*/ 0 w 87"/>
                <a:gd name="T1" fmla="*/ 95 h 109"/>
                <a:gd name="T2" fmla="*/ 87 w 87"/>
                <a:gd name="T3" fmla="*/ 0 h 109"/>
                <a:gd name="T4" fmla="*/ 87 w 87"/>
                <a:gd name="T5" fmla="*/ 15 h 109"/>
                <a:gd name="T6" fmla="*/ 0 w 87"/>
                <a:gd name="T7" fmla="*/ 109 h 109"/>
                <a:gd name="T8" fmla="*/ 0 w 87"/>
                <a:gd name="T9" fmla="*/ 9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444"/>
            <p:cNvSpPr>
              <a:spLocks/>
            </p:cNvSpPr>
            <p:nvPr/>
          </p:nvSpPr>
          <p:spPr bwMode="auto">
            <a:xfrm>
              <a:off x="4783139" y="1479550"/>
              <a:ext cx="34925" cy="44450"/>
            </a:xfrm>
            <a:custGeom>
              <a:avLst/>
              <a:gdLst>
                <a:gd name="T0" fmla="*/ 0 w 87"/>
                <a:gd name="T1" fmla="*/ 93 h 108"/>
                <a:gd name="T2" fmla="*/ 87 w 87"/>
                <a:gd name="T3" fmla="*/ 0 h 108"/>
                <a:gd name="T4" fmla="*/ 87 w 87"/>
                <a:gd name="T5" fmla="*/ 14 h 108"/>
                <a:gd name="T6" fmla="*/ 0 w 87"/>
                <a:gd name="T7" fmla="*/ 108 h 108"/>
                <a:gd name="T8" fmla="*/ 0 w 87"/>
                <a:gd name="T9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3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8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445"/>
            <p:cNvSpPr>
              <a:spLocks/>
            </p:cNvSpPr>
            <p:nvPr/>
          </p:nvSpPr>
          <p:spPr bwMode="auto">
            <a:xfrm>
              <a:off x="4783139" y="1482725"/>
              <a:ext cx="34925" cy="42863"/>
            </a:xfrm>
            <a:custGeom>
              <a:avLst/>
              <a:gdLst>
                <a:gd name="T0" fmla="*/ 0 w 87"/>
                <a:gd name="T1" fmla="*/ 94 h 109"/>
                <a:gd name="T2" fmla="*/ 87 w 87"/>
                <a:gd name="T3" fmla="*/ 0 h 109"/>
                <a:gd name="T4" fmla="*/ 87 w 87"/>
                <a:gd name="T5" fmla="*/ 14 h 109"/>
                <a:gd name="T6" fmla="*/ 0 w 87"/>
                <a:gd name="T7" fmla="*/ 109 h 109"/>
                <a:gd name="T8" fmla="*/ 0 w 87"/>
                <a:gd name="T9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4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9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446"/>
            <p:cNvSpPr>
              <a:spLocks/>
            </p:cNvSpPr>
            <p:nvPr/>
          </p:nvSpPr>
          <p:spPr bwMode="auto">
            <a:xfrm>
              <a:off x="4783139" y="1485900"/>
              <a:ext cx="34925" cy="42863"/>
            </a:xfrm>
            <a:custGeom>
              <a:avLst/>
              <a:gdLst>
                <a:gd name="T0" fmla="*/ 0 w 87"/>
                <a:gd name="T1" fmla="*/ 94 h 109"/>
                <a:gd name="T2" fmla="*/ 87 w 87"/>
                <a:gd name="T3" fmla="*/ 0 h 109"/>
                <a:gd name="T4" fmla="*/ 87 w 87"/>
                <a:gd name="T5" fmla="*/ 15 h 109"/>
                <a:gd name="T6" fmla="*/ 0 w 87"/>
                <a:gd name="T7" fmla="*/ 109 h 109"/>
                <a:gd name="T8" fmla="*/ 0 w 87"/>
                <a:gd name="T9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4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9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47"/>
            <p:cNvSpPr>
              <a:spLocks/>
            </p:cNvSpPr>
            <p:nvPr/>
          </p:nvSpPr>
          <p:spPr bwMode="auto">
            <a:xfrm>
              <a:off x="4783139" y="1489075"/>
              <a:ext cx="34925" cy="42863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48"/>
            <p:cNvSpPr>
              <a:spLocks/>
            </p:cNvSpPr>
            <p:nvPr/>
          </p:nvSpPr>
          <p:spPr bwMode="auto">
            <a:xfrm>
              <a:off x="4783139" y="1492250"/>
              <a:ext cx="34925" cy="42863"/>
            </a:xfrm>
            <a:custGeom>
              <a:avLst/>
              <a:gdLst>
                <a:gd name="T0" fmla="*/ 0 w 87"/>
                <a:gd name="T1" fmla="*/ 94 h 109"/>
                <a:gd name="T2" fmla="*/ 87 w 87"/>
                <a:gd name="T3" fmla="*/ 0 h 109"/>
                <a:gd name="T4" fmla="*/ 87 w 87"/>
                <a:gd name="T5" fmla="*/ 15 h 109"/>
                <a:gd name="T6" fmla="*/ 0 w 87"/>
                <a:gd name="T7" fmla="*/ 109 h 109"/>
                <a:gd name="T8" fmla="*/ 0 w 87"/>
                <a:gd name="T9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4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9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49"/>
            <p:cNvSpPr>
              <a:spLocks/>
            </p:cNvSpPr>
            <p:nvPr/>
          </p:nvSpPr>
          <p:spPr bwMode="auto">
            <a:xfrm>
              <a:off x="4783139" y="1495425"/>
              <a:ext cx="34925" cy="42863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50"/>
            <p:cNvSpPr>
              <a:spLocks/>
            </p:cNvSpPr>
            <p:nvPr/>
          </p:nvSpPr>
          <p:spPr bwMode="auto">
            <a:xfrm>
              <a:off x="4783139" y="1497013"/>
              <a:ext cx="34925" cy="44450"/>
            </a:xfrm>
            <a:custGeom>
              <a:avLst/>
              <a:gdLst>
                <a:gd name="T0" fmla="*/ 0 w 87"/>
                <a:gd name="T1" fmla="*/ 94 h 108"/>
                <a:gd name="T2" fmla="*/ 87 w 87"/>
                <a:gd name="T3" fmla="*/ 0 h 108"/>
                <a:gd name="T4" fmla="*/ 87 w 87"/>
                <a:gd name="T5" fmla="*/ 15 h 108"/>
                <a:gd name="T6" fmla="*/ 0 w 87"/>
                <a:gd name="T7" fmla="*/ 108 h 108"/>
                <a:gd name="T8" fmla="*/ 0 w 87"/>
                <a:gd name="T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4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8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51"/>
            <p:cNvSpPr>
              <a:spLocks/>
            </p:cNvSpPr>
            <p:nvPr/>
          </p:nvSpPr>
          <p:spPr bwMode="auto">
            <a:xfrm>
              <a:off x="4783139" y="1500188"/>
              <a:ext cx="34925" cy="42863"/>
            </a:xfrm>
            <a:custGeom>
              <a:avLst/>
              <a:gdLst>
                <a:gd name="T0" fmla="*/ 0 w 87"/>
                <a:gd name="T1" fmla="*/ 95 h 109"/>
                <a:gd name="T2" fmla="*/ 87 w 87"/>
                <a:gd name="T3" fmla="*/ 0 h 109"/>
                <a:gd name="T4" fmla="*/ 87 w 87"/>
                <a:gd name="T5" fmla="*/ 15 h 109"/>
                <a:gd name="T6" fmla="*/ 0 w 87"/>
                <a:gd name="T7" fmla="*/ 109 h 109"/>
                <a:gd name="T8" fmla="*/ 0 w 87"/>
                <a:gd name="T9" fmla="*/ 9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52"/>
            <p:cNvSpPr>
              <a:spLocks/>
            </p:cNvSpPr>
            <p:nvPr/>
          </p:nvSpPr>
          <p:spPr bwMode="auto">
            <a:xfrm>
              <a:off x="4783139" y="1503363"/>
              <a:ext cx="34925" cy="42863"/>
            </a:xfrm>
            <a:custGeom>
              <a:avLst/>
              <a:gdLst>
                <a:gd name="T0" fmla="*/ 0 w 87"/>
                <a:gd name="T1" fmla="*/ 93 h 108"/>
                <a:gd name="T2" fmla="*/ 87 w 87"/>
                <a:gd name="T3" fmla="*/ 0 h 108"/>
                <a:gd name="T4" fmla="*/ 87 w 87"/>
                <a:gd name="T5" fmla="*/ 15 h 108"/>
                <a:gd name="T6" fmla="*/ 0 w 87"/>
                <a:gd name="T7" fmla="*/ 108 h 108"/>
                <a:gd name="T8" fmla="*/ 0 w 87"/>
                <a:gd name="T9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3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8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53"/>
            <p:cNvSpPr>
              <a:spLocks/>
            </p:cNvSpPr>
            <p:nvPr/>
          </p:nvSpPr>
          <p:spPr bwMode="auto">
            <a:xfrm>
              <a:off x="4783139" y="1506538"/>
              <a:ext cx="34925" cy="42863"/>
            </a:xfrm>
            <a:custGeom>
              <a:avLst/>
              <a:gdLst>
                <a:gd name="T0" fmla="*/ 0 w 87"/>
                <a:gd name="T1" fmla="*/ 94 h 109"/>
                <a:gd name="T2" fmla="*/ 87 w 87"/>
                <a:gd name="T3" fmla="*/ 0 h 109"/>
                <a:gd name="T4" fmla="*/ 87 w 87"/>
                <a:gd name="T5" fmla="*/ 14 h 109"/>
                <a:gd name="T6" fmla="*/ 0 w 87"/>
                <a:gd name="T7" fmla="*/ 109 h 109"/>
                <a:gd name="T8" fmla="*/ 0 w 87"/>
                <a:gd name="T9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4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9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54"/>
            <p:cNvSpPr>
              <a:spLocks/>
            </p:cNvSpPr>
            <p:nvPr/>
          </p:nvSpPr>
          <p:spPr bwMode="auto">
            <a:xfrm>
              <a:off x="4783139" y="1509713"/>
              <a:ext cx="34925" cy="42863"/>
            </a:xfrm>
            <a:custGeom>
              <a:avLst/>
              <a:gdLst>
                <a:gd name="T0" fmla="*/ 0 w 87"/>
                <a:gd name="T1" fmla="*/ 93 h 109"/>
                <a:gd name="T2" fmla="*/ 87 w 87"/>
                <a:gd name="T3" fmla="*/ 0 h 109"/>
                <a:gd name="T4" fmla="*/ 87 w 87"/>
                <a:gd name="T5" fmla="*/ 14 h 109"/>
                <a:gd name="T6" fmla="*/ 0 w 87"/>
                <a:gd name="T7" fmla="*/ 109 h 109"/>
                <a:gd name="T8" fmla="*/ 0 w 87"/>
                <a:gd name="T9" fmla="*/ 9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3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9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55"/>
            <p:cNvSpPr>
              <a:spLocks/>
            </p:cNvSpPr>
            <p:nvPr/>
          </p:nvSpPr>
          <p:spPr bwMode="auto">
            <a:xfrm>
              <a:off x="4783139" y="1512888"/>
              <a:ext cx="34925" cy="42863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456"/>
            <p:cNvSpPr>
              <a:spLocks/>
            </p:cNvSpPr>
            <p:nvPr/>
          </p:nvSpPr>
          <p:spPr bwMode="auto">
            <a:xfrm>
              <a:off x="4783139" y="1514475"/>
              <a:ext cx="34925" cy="44450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457"/>
            <p:cNvSpPr>
              <a:spLocks/>
            </p:cNvSpPr>
            <p:nvPr/>
          </p:nvSpPr>
          <p:spPr bwMode="auto">
            <a:xfrm>
              <a:off x="4783139" y="1517650"/>
              <a:ext cx="34925" cy="44450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458"/>
            <p:cNvSpPr>
              <a:spLocks/>
            </p:cNvSpPr>
            <p:nvPr/>
          </p:nvSpPr>
          <p:spPr bwMode="auto">
            <a:xfrm>
              <a:off x="4783139" y="1520825"/>
              <a:ext cx="34925" cy="44450"/>
            </a:xfrm>
            <a:custGeom>
              <a:avLst/>
              <a:gdLst>
                <a:gd name="T0" fmla="*/ 0 w 87"/>
                <a:gd name="T1" fmla="*/ 95 h 110"/>
                <a:gd name="T2" fmla="*/ 87 w 87"/>
                <a:gd name="T3" fmla="*/ 0 h 110"/>
                <a:gd name="T4" fmla="*/ 87 w 87"/>
                <a:gd name="T5" fmla="*/ 15 h 110"/>
                <a:gd name="T6" fmla="*/ 0 w 87"/>
                <a:gd name="T7" fmla="*/ 110 h 110"/>
                <a:gd name="T8" fmla="*/ 0 w 87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1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459"/>
            <p:cNvSpPr>
              <a:spLocks/>
            </p:cNvSpPr>
            <p:nvPr/>
          </p:nvSpPr>
          <p:spPr bwMode="auto">
            <a:xfrm>
              <a:off x="4783139" y="1524000"/>
              <a:ext cx="34925" cy="42863"/>
            </a:xfrm>
            <a:custGeom>
              <a:avLst/>
              <a:gdLst>
                <a:gd name="T0" fmla="*/ 0 w 87"/>
                <a:gd name="T1" fmla="*/ 95 h 109"/>
                <a:gd name="T2" fmla="*/ 87 w 87"/>
                <a:gd name="T3" fmla="*/ 0 h 109"/>
                <a:gd name="T4" fmla="*/ 87 w 87"/>
                <a:gd name="T5" fmla="*/ 16 h 109"/>
                <a:gd name="T6" fmla="*/ 0 w 87"/>
                <a:gd name="T7" fmla="*/ 109 h 109"/>
                <a:gd name="T8" fmla="*/ 0 w 87"/>
                <a:gd name="T9" fmla="*/ 9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5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0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460"/>
            <p:cNvSpPr>
              <a:spLocks/>
            </p:cNvSpPr>
            <p:nvPr/>
          </p:nvSpPr>
          <p:spPr bwMode="auto">
            <a:xfrm>
              <a:off x="4783139" y="1527175"/>
              <a:ext cx="34925" cy="42863"/>
            </a:xfrm>
            <a:custGeom>
              <a:avLst/>
              <a:gdLst>
                <a:gd name="T0" fmla="*/ 0 w 87"/>
                <a:gd name="T1" fmla="*/ 95 h 109"/>
                <a:gd name="T2" fmla="*/ 87 w 87"/>
                <a:gd name="T3" fmla="*/ 0 h 109"/>
                <a:gd name="T4" fmla="*/ 87 w 87"/>
                <a:gd name="T5" fmla="*/ 15 h 109"/>
                <a:gd name="T6" fmla="*/ 0 w 87"/>
                <a:gd name="T7" fmla="*/ 109 h 109"/>
                <a:gd name="T8" fmla="*/ 0 w 87"/>
                <a:gd name="T9" fmla="*/ 9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0" y="10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461"/>
            <p:cNvSpPr>
              <a:spLocks/>
            </p:cNvSpPr>
            <p:nvPr/>
          </p:nvSpPr>
          <p:spPr bwMode="auto">
            <a:xfrm>
              <a:off x="4783139" y="1530350"/>
              <a:ext cx="34925" cy="42863"/>
            </a:xfrm>
            <a:custGeom>
              <a:avLst/>
              <a:gdLst>
                <a:gd name="T0" fmla="*/ 0 w 87"/>
                <a:gd name="T1" fmla="*/ 93 h 108"/>
                <a:gd name="T2" fmla="*/ 87 w 87"/>
                <a:gd name="T3" fmla="*/ 0 h 108"/>
                <a:gd name="T4" fmla="*/ 87 w 87"/>
                <a:gd name="T5" fmla="*/ 14 h 108"/>
                <a:gd name="T6" fmla="*/ 0 w 87"/>
                <a:gd name="T7" fmla="*/ 108 h 108"/>
                <a:gd name="T8" fmla="*/ 0 w 87"/>
                <a:gd name="T9" fmla="*/ 9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8">
                  <a:moveTo>
                    <a:pt x="0" y="93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8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462"/>
            <p:cNvSpPr>
              <a:spLocks/>
            </p:cNvSpPr>
            <p:nvPr/>
          </p:nvSpPr>
          <p:spPr bwMode="auto">
            <a:xfrm>
              <a:off x="4783139" y="1533525"/>
              <a:ext cx="34925" cy="42863"/>
            </a:xfrm>
            <a:custGeom>
              <a:avLst/>
              <a:gdLst>
                <a:gd name="T0" fmla="*/ 0 w 87"/>
                <a:gd name="T1" fmla="*/ 94 h 109"/>
                <a:gd name="T2" fmla="*/ 87 w 87"/>
                <a:gd name="T3" fmla="*/ 0 h 109"/>
                <a:gd name="T4" fmla="*/ 87 w 87"/>
                <a:gd name="T5" fmla="*/ 14 h 109"/>
                <a:gd name="T6" fmla="*/ 0 w 87"/>
                <a:gd name="T7" fmla="*/ 109 h 109"/>
                <a:gd name="T8" fmla="*/ 0 w 87"/>
                <a:gd name="T9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09">
                  <a:moveTo>
                    <a:pt x="0" y="94"/>
                  </a:moveTo>
                  <a:lnTo>
                    <a:pt x="87" y="0"/>
                  </a:lnTo>
                  <a:lnTo>
                    <a:pt x="87" y="14"/>
                  </a:lnTo>
                  <a:lnTo>
                    <a:pt x="0" y="109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463"/>
            <p:cNvSpPr>
              <a:spLocks/>
            </p:cNvSpPr>
            <p:nvPr/>
          </p:nvSpPr>
          <p:spPr bwMode="auto">
            <a:xfrm>
              <a:off x="4783139" y="1535113"/>
              <a:ext cx="34925" cy="42863"/>
            </a:xfrm>
            <a:custGeom>
              <a:avLst/>
              <a:gdLst>
                <a:gd name="T0" fmla="*/ 0 w 87"/>
                <a:gd name="T1" fmla="*/ 94 h 106"/>
                <a:gd name="T2" fmla="*/ 87 w 87"/>
                <a:gd name="T3" fmla="*/ 0 h 106"/>
                <a:gd name="T4" fmla="*/ 87 w 87"/>
                <a:gd name="T5" fmla="*/ 15 h 106"/>
                <a:gd name="T6" fmla="*/ 2 w 87"/>
                <a:gd name="T7" fmla="*/ 106 h 106"/>
                <a:gd name="T8" fmla="*/ 0 w 87"/>
                <a:gd name="T9" fmla="*/ 106 h 106"/>
                <a:gd name="T10" fmla="*/ 0 w 87"/>
                <a:gd name="T11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06">
                  <a:moveTo>
                    <a:pt x="0" y="94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464"/>
            <p:cNvSpPr>
              <a:spLocks/>
            </p:cNvSpPr>
            <p:nvPr/>
          </p:nvSpPr>
          <p:spPr bwMode="auto">
            <a:xfrm>
              <a:off x="4783139" y="1538288"/>
              <a:ext cx="34925" cy="39688"/>
            </a:xfrm>
            <a:custGeom>
              <a:avLst/>
              <a:gdLst>
                <a:gd name="T0" fmla="*/ 0 w 87"/>
                <a:gd name="T1" fmla="*/ 95 h 99"/>
                <a:gd name="T2" fmla="*/ 87 w 87"/>
                <a:gd name="T3" fmla="*/ 0 h 99"/>
                <a:gd name="T4" fmla="*/ 87 w 87"/>
                <a:gd name="T5" fmla="*/ 15 h 99"/>
                <a:gd name="T6" fmla="*/ 10 w 87"/>
                <a:gd name="T7" fmla="*/ 99 h 99"/>
                <a:gd name="T8" fmla="*/ 0 w 87"/>
                <a:gd name="T9" fmla="*/ 99 h 99"/>
                <a:gd name="T10" fmla="*/ 0 w 87"/>
                <a:gd name="T11" fmla="*/ 9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99">
                  <a:moveTo>
                    <a:pt x="0" y="95"/>
                  </a:moveTo>
                  <a:lnTo>
                    <a:pt x="87" y="0"/>
                  </a:lnTo>
                  <a:lnTo>
                    <a:pt x="87" y="15"/>
                  </a:lnTo>
                  <a:lnTo>
                    <a:pt x="10" y="99"/>
                  </a:lnTo>
                  <a:lnTo>
                    <a:pt x="0" y="9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465"/>
            <p:cNvSpPr>
              <a:spLocks/>
            </p:cNvSpPr>
            <p:nvPr/>
          </p:nvSpPr>
          <p:spPr bwMode="auto">
            <a:xfrm>
              <a:off x="4783139" y="1541463"/>
              <a:ext cx="34925" cy="36513"/>
            </a:xfrm>
            <a:custGeom>
              <a:avLst/>
              <a:gdLst>
                <a:gd name="T0" fmla="*/ 0 w 85"/>
                <a:gd name="T1" fmla="*/ 91 h 91"/>
                <a:gd name="T2" fmla="*/ 85 w 85"/>
                <a:gd name="T3" fmla="*/ 0 h 91"/>
                <a:gd name="T4" fmla="*/ 85 w 85"/>
                <a:gd name="T5" fmla="*/ 15 h 91"/>
                <a:gd name="T6" fmla="*/ 14 w 85"/>
                <a:gd name="T7" fmla="*/ 91 h 91"/>
                <a:gd name="T8" fmla="*/ 0 w 85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1">
                  <a:moveTo>
                    <a:pt x="0" y="91"/>
                  </a:moveTo>
                  <a:lnTo>
                    <a:pt x="85" y="0"/>
                  </a:lnTo>
                  <a:lnTo>
                    <a:pt x="85" y="15"/>
                  </a:lnTo>
                  <a:lnTo>
                    <a:pt x="14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466"/>
            <p:cNvSpPr>
              <a:spLocks/>
            </p:cNvSpPr>
            <p:nvPr/>
          </p:nvSpPr>
          <p:spPr bwMode="auto">
            <a:xfrm>
              <a:off x="4786314" y="1544638"/>
              <a:ext cx="31750" cy="33338"/>
            </a:xfrm>
            <a:custGeom>
              <a:avLst/>
              <a:gdLst>
                <a:gd name="T0" fmla="*/ 0 w 77"/>
                <a:gd name="T1" fmla="*/ 84 h 84"/>
                <a:gd name="T2" fmla="*/ 77 w 77"/>
                <a:gd name="T3" fmla="*/ 0 h 84"/>
                <a:gd name="T4" fmla="*/ 77 w 77"/>
                <a:gd name="T5" fmla="*/ 15 h 84"/>
                <a:gd name="T6" fmla="*/ 13 w 77"/>
                <a:gd name="T7" fmla="*/ 84 h 84"/>
                <a:gd name="T8" fmla="*/ 0 w 77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4">
                  <a:moveTo>
                    <a:pt x="0" y="84"/>
                  </a:moveTo>
                  <a:lnTo>
                    <a:pt x="77" y="0"/>
                  </a:lnTo>
                  <a:lnTo>
                    <a:pt x="77" y="15"/>
                  </a:lnTo>
                  <a:lnTo>
                    <a:pt x="13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467"/>
            <p:cNvSpPr>
              <a:spLocks/>
            </p:cNvSpPr>
            <p:nvPr/>
          </p:nvSpPr>
          <p:spPr bwMode="auto">
            <a:xfrm>
              <a:off x="4789489" y="1547813"/>
              <a:ext cx="28575" cy="30163"/>
            </a:xfrm>
            <a:custGeom>
              <a:avLst/>
              <a:gdLst>
                <a:gd name="T0" fmla="*/ 0 w 71"/>
                <a:gd name="T1" fmla="*/ 76 h 76"/>
                <a:gd name="T2" fmla="*/ 71 w 71"/>
                <a:gd name="T3" fmla="*/ 0 h 76"/>
                <a:gd name="T4" fmla="*/ 71 w 71"/>
                <a:gd name="T5" fmla="*/ 15 h 76"/>
                <a:gd name="T6" fmla="*/ 14 w 71"/>
                <a:gd name="T7" fmla="*/ 76 h 76"/>
                <a:gd name="T8" fmla="*/ 0 w 71"/>
                <a:gd name="T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6">
                  <a:moveTo>
                    <a:pt x="0" y="76"/>
                  </a:moveTo>
                  <a:lnTo>
                    <a:pt x="71" y="0"/>
                  </a:lnTo>
                  <a:lnTo>
                    <a:pt x="71" y="15"/>
                  </a:lnTo>
                  <a:lnTo>
                    <a:pt x="14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468"/>
            <p:cNvSpPr>
              <a:spLocks/>
            </p:cNvSpPr>
            <p:nvPr/>
          </p:nvSpPr>
          <p:spPr bwMode="auto">
            <a:xfrm>
              <a:off x="4791077" y="1550988"/>
              <a:ext cx="26988" cy="26988"/>
            </a:xfrm>
            <a:custGeom>
              <a:avLst/>
              <a:gdLst>
                <a:gd name="T0" fmla="*/ 0 w 64"/>
                <a:gd name="T1" fmla="*/ 69 h 69"/>
                <a:gd name="T2" fmla="*/ 64 w 64"/>
                <a:gd name="T3" fmla="*/ 0 h 69"/>
                <a:gd name="T4" fmla="*/ 64 w 64"/>
                <a:gd name="T5" fmla="*/ 15 h 69"/>
                <a:gd name="T6" fmla="*/ 14 w 64"/>
                <a:gd name="T7" fmla="*/ 69 h 69"/>
                <a:gd name="T8" fmla="*/ 0 w 64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9">
                  <a:moveTo>
                    <a:pt x="0" y="69"/>
                  </a:moveTo>
                  <a:lnTo>
                    <a:pt x="64" y="0"/>
                  </a:lnTo>
                  <a:lnTo>
                    <a:pt x="64" y="15"/>
                  </a:lnTo>
                  <a:lnTo>
                    <a:pt x="14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469"/>
            <p:cNvSpPr>
              <a:spLocks/>
            </p:cNvSpPr>
            <p:nvPr/>
          </p:nvSpPr>
          <p:spPr bwMode="auto">
            <a:xfrm>
              <a:off x="4794252" y="1554163"/>
              <a:ext cx="23813" cy="23813"/>
            </a:xfrm>
            <a:custGeom>
              <a:avLst/>
              <a:gdLst>
                <a:gd name="T0" fmla="*/ 0 w 57"/>
                <a:gd name="T1" fmla="*/ 61 h 61"/>
                <a:gd name="T2" fmla="*/ 57 w 57"/>
                <a:gd name="T3" fmla="*/ 0 h 61"/>
                <a:gd name="T4" fmla="*/ 57 w 57"/>
                <a:gd name="T5" fmla="*/ 14 h 61"/>
                <a:gd name="T6" fmla="*/ 13 w 57"/>
                <a:gd name="T7" fmla="*/ 61 h 61"/>
                <a:gd name="T8" fmla="*/ 0 w 57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61">
                  <a:moveTo>
                    <a:pt x="0" y="61"/>
                  </a:moveTo>
                  <a:lnTo>
                    <a:pt x="57" y="0"/>
                  </a:lnTo>
                  <a:lnTo>
                    <a:pt x="57" y="14"/>
                  </a:lnTo>
                  <a:lnTo>
                    <a:pt x="13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470"/>
            <p:cNvSpPr>
              <a:spLocks/>
            </p:cNvSpPr>
            <p:nvPr/>
          </p:nvSpPr>
          <p:spPr bwMode="auto">
            <a:xfrm>
              <a:off x="4797427" y="1557338"/>
              <a:ext cx="20638" cy="20638"/>
            </a:xfrm>
            <a:custGeom>
              <a:avLst/>
              <a:gdLst>
                <a:gd name="T0" fmla="*/ 0 w 50"/>
                <a:gd name="T1" fmla="*/ 54 h 54"/>
                <a:gd name="T2" fmla="*/ 50 w 50"/>
                <a:gd name="T3" fmla="*/ 0 h 54"/>
                <a:gd name="T4" fmla="*/ 50 w 50"/>
                <a:gd name="T5" fmla="*/ 14 h 54"/>
                <a:gd name="T6" fmla="*/ 14 w 50"/>
                <a:gd name="T7" fmla="*/ 54 h 54"/>
                <a:gd name="T8" fmla="*/ 0 w 50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4">
                  <a:moveTo>
                    <a:pt x="0" y="54"/>
                  </a:moveTo>
                  <a:lnTo>
                    <a:pt x="50" y="0"/>
                  </a:lnTo>
                  <a:lnTo>
                    <a:pt x="50" y="14"/>
                  </a:lnTo>
                  <a:lnTo>
                    <a:pt x="14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471"/>
            <p:cNvSpPr>
              <a:spLocks/>
            </p:cNvSpPr>
            <p:nvPr/>
          </p:nvSpPr>
          <p:spPr bwMode="auto">
            <a:xfrm>
              <a:off x="4799014" y="1558925"/>
              <a:ext cx="19050" cy="19050"/>
            </a:xfrm>
            <a:custGeom>
              <a:avLst/>
              <a:gdLst>
                <a:gd name="T0" fmla="*/ 0 w 44"/>
                <a:gd name="T1" fmla="*/ 47 h 47"/>
                <a:gd name="T2" fmla="*/ 44 w 44"/>
                <a:gd name="T3" fmla="*/ 0 h 47"/>
                <a:gd name="T4" fmla="*/ 44 w 44"/>
                <a:gd name="T5" fmla="*/ 15 h 47"/>
                <a:gd name="T6" fmla="*/ 14 w 44"/>
                <a:gd name="T7" fmla="*/ 47 h 47"/>
                <a:gd name="T8" fmla="*/ 0 w 4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7">
                  <a:moveTo>
                    <a:pt x="0" y="47"/>
                  </a:moveTo>
                  <a:lnTo>
                    <a:pt x="44" y="0"/>
                  </a:lnTo>
                  <a:lnTo>
                    <a:pt x="44" y="15"/>
                  </a:lnTo>
                  <a:lnTo>
                    <a:pt x="14" y="47"/>
                  </a:lnTo>
                  <a:lnTo>
                    <a:pt x="0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472"/>
            <p:cNvSpPr>
              <a:spLocks/>
            </p:cNvSpPr>
            <p:nvPr/>
          </p:nvSpPr>
          <p:spPr bwMode="auto">
            <a:xfrm>
              <a:off x="4802189" y="1562100"/>
              <a:ext cx="15875" cy="15875"/>
            </a:xfrm>
            <a:custGeom>
              <a:avLst/>
              <a:gdLst>
                <a:gd name="T0" fmla="*/ 0 w 36"/>
                <a:gd name="T1" fmla="*/ 40 h 40"/>
                <a:gd name="T2" fmla="*/ 36 w 36"/>
                <a:gd name="T3" fmla="*/ 0 h 40"/>
                <a:gd name="T4" fmla="*/ 36 w 36"/>
                <a:gd name="T5" fmla="*/ 15 h 40"/>
                <a:gd name="T6" fmla="*/ 12 w 36"/>
                <a:gd name="T7" fmla="*/ 40 h 40"/>
                <a:gd name="T8" fmla="*/ 0 w 36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0">
                  <a:moveTo>
                    <a:pt x="0" y="40"/>
                  </a:moveTo>
                  <a:lnTo>
                    <a:pt x="36" y="0"/>
                  </a:lnTo>
                  <a:lnTo>
                    <a:pt x="36" y="15"/>
                  </a:lnTo>
                  <a:lnTo>
                    <a:pt x="12" y="40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473"/>
            <p:cNvSpPr>
              <a:spLocks/>
            </p:cNvSpPr>
            <p:nvPr/>
          </p:nvSpPr>
          <p:spPr bwMode="auto">
            <a:xfrm>
              <a:off x="4805364" y="1565275"/>
              <a:ext cx="12700" cy="12700"/>
            </a:xfrm>
            <a:custGeom>
              <a:avLst/>
              <a:gdLst>
                <a:gd name="T0" fmla="*/ 0 w 30"/>
                <a:gd name="T1" fmla="*/ 32 h 32"/>
                <a:gd name="T2" fmla="*/ 30 w 30"/>
                <a:gd name="T3" fmla="*/ 0 h 32"/>
                <a:gd name="T4" fmla="*/ 30 w 30"/>
                <a:gd name="T5" fmla="*/ 15 h 32"/>
                <a:gd name="T6" fmla="*/ 14 w 30"/>
                <a:gd name="T7" fmla="*/ 32 h 32"/>
                <a:gd name="T8" fmla="*/ 0 w 30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2">
                  <a:moveTo>
                    <a:pt x="0" y="32"/>
                  </a:moveTo>
                  <a:lnTo>
                    <a:pt x="30" y="0"/>
                  </a:lnTo>
                  <a:lnTo>
                    <a:pt x="30" y="15"/>
                  </a:lnTo>
                  <a:lnTo>
                    <a:pt x="1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474"/>
            <p:cNvSpPr>
              <a:spLocks/>
            </p:cNvSpPr>
            <p:nvPr/>
          </p:nvSpPr>
          <p:spPr bwMode="auto">
            <a:xfrm>
              <a:off x="4808539" y="1568450"/>
              <a:ext cx="9525" cy="9525"/>
            </a:xfrm>
            <a:custGeom>
              <a:avLst/>
              <a:gdLst>
                <a:gd name="T0" fmla="*/ 0 w 24"/>
                <a:gd name="T1" fmla="*/ 25 h 25"/>
                <a:gd name="T2" fmla="*/ 24 w 24"/>
                <a:gd name="T3" fmla="*/ 0 h 25"/>
                <a:gd name="T4" fmla="*/ 24 w 24"/>
                <a:gd name="T5" fmla="*/ 15 h 25"/>
                <a:gd name="T6" fmla="*/ 14 w 24"/>
                <a:gd name="T7" fmla="*/ 25 h 25"/>
                <a:gd name="T8" fmla="*/ 0 w 24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0" y="25"/>
                  </a:moveTo>
                  <a:lnTo>
                    <a:pt x="24" y="0"/>
                  </a:lnTo>
                  <a:lnTo>
                    <a:pt x="24" y="15"/>
                  </a:lnTo>
                  <a:lnTo>
                    <a:pt x="14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475"/>
            <p:cNvSpPr>
              <a:spLocks/>
            </p:cNvSpPr>
            <p:nvPr/>
          </p:nvSpPr>
          <p:spPr bwMode="auto">
            <a:xfrm>
              <a:off x="4810127" y="1571625"/>
              <a:ext cx="7938" cy="6350"/>
            </a:xfrm>
            <a:custGeom>
              <a:avLst/>
              <a:gdLst>
                <a:gd name="T0" fmla="*/ 0 w 16"/>
                <a:gd name="T1" fmla="*/ 17 h 17"/>
                <a:gd name="T2" fmla="*/ 16 w 16"/>
                <a:gd name="T3" fmla="*/ 0 h 17"/>
                <a:gd name="T4" fmla="*/ 16 w 16"/>
                <a:gd name="T5" fmla="*/ 15 h 17"/>
                <a:gd name="T6" fmla="*/ 13 w 16"/>
                <a:gd name="T7" fmla="*/ 17 h 17"/>
                <a:gd name="T8" fmla="*/ 0 w 1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0" y="17"/>
                  </a:moveTo>
                  <a:lnTo>
                    <a:pt x="16" y="0"/>
                  </a:lnTo>
                  <a:lnTo>
                    <a:pt x="16" y="15"/>
                  </a:lnTo>
                  <a:lnTo>
                    <a:pt x="13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476"/>
            <p:cNvSpPr>
              <a:spLocks/>
            </p:cNvSpPr>
            <p:nvPr/>
          </p:nvSpPr>
          <p:spPr bwMode="auto">
            <a:xfrm>
              <a:off x="4813302" y="1574800"/>
              <a:ext cx="4763" cy="3175"/>
            </a:xfrm>
            <a:custGeom>
              <a:avLst/>
              <a:gdLst>
                <a:gd name="T0" fmla="*/ 0 w 10"/>
                <a:gd name="T1" fmla="*/ 10 h 10"/>
                <a:gd name="T2" fmla="*/ 10 w 10"/>
                <a:gd name="T3" fmla="*/ 0 h 10"/>
                <a:gd name="T4" fmla="*/ 10 w 10"/>
                <a:gd name="T5" fmla="*/ 10 h 10"/>
                <a:gd name="T6" fmla="*/ 0 w 10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0" y="10"/>
                  </a:moveTo>
                  <a:lnTo>
                    <a:pt x="10" y="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477"/>
            <p:cNvSpPr>
              <a:spLocks/>
            </p:cNvSpPr>
            <p:nvPr/>
          </p:nvSpPr>
          <p:spPr bwMode="auto">
            <a:xfrm>
              <a:off x="4816477" y="1576388"/>
              <a:ext cx="1588" cy="1588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0 h 2"/>
                <a:gd name="T4" fmla="*/ 3 w 3"/>
                <a:gd name="T5" fmla="*/ 2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Rectangle 478"/>
            <p:cNvSpPr>
              <a:spLocks noChangeArrowheads="1"/>
            </p:cNvSpPr>
            <p:nvPr/>
          </p:nvSpPr>
          <p:spPr bwMode="auto">
            <a:xfrm>
              <a:off x="4783139" y="1471613"/>
              <a:ext cx="34925" cy="106363"/>
            </a:xfrm>
            <a:prstGeom prst="rect">
              <a:avLst/>
            </a:prstGeom>
            <a:solidFill>
              <a:srgbClr val="FFFFFF"/>
            </a:solidFill>
            <a:ln w="4">
              <a:solidFill>
                <a:srgbClr val="1F1A17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479"/>
            <p:cNvSpPr>
              <a:spLocks/>
            </p:cNvSpPr>
            <p:nvPr/>
          </p:nvSpPr>
          <p:spPr bwMode="auto">
            <a:xfrm>
              <a:off x="4835527" y="1449388"/>
              <a:ext cx="3175" cy="3175"/>
            </a:xfrm>
            <a:custGeom>
              <a:avLst/>
              <a:gdLst>
                <a:gd name="T0" fmla="*/ 8 w 8"/>
                <a:gd name="T1" fmla="*/ 0 h 8"/>
                <a:gd name="T2" fmla="*/ 0 w 8"/>
                <a:gd name="T3" fmla="*/ 8 h 8"/>
                <a:gd name="T4" fmla="*/ 0 w 8"/>
                <a:gd name="T5" fmla="*/ 0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480"/>
            <p:cNvSpPr>
              <a:spLocks/>
            </p:cNvSpPr>
            <p:nvPr/>
          </p:nvSpPr>
          <p:spPr bwMode="auto">
            <a:xfrm>
              <a:off x="4835527" y="1449388"/>
              <a:ext cx="6350" cy="6350"/>
            </a:xfrm>
            <a:custGeom>
              <a:avLst/>
              <a:gdLst>
                <a:gd name="T0" fmla="*/ 0 w 16"/>
                <a:gd name="T1" fmla="*/ 0 h 16"/>
                <a:gd name="T2" fmla="*/ 0 w 16"/>
                <a:gd name="T3" fmla="*/ 0 h 16"/>
                <a:gd name="T4" fmla="*/ 16 w 16"/>
                <a:gd name="T5" fmla="*/ 0 h 16"/>
                <a:gd name="T6" fmla="*/ 0 w 16"/>
                <a:gd name="T7" fmla="*/ 16 h 16"/>
                <a:gd name="T8" fmla="*/ 0 w 1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481"/>
            <p:cNvSpPr>
              <a:spLocks/>
            </p:cNvSpPr>
            <p:nvPr/>
          </p:nvSpPr>
          <p:spPr bwMode="auto">
            <a:xfrm>
              <a:off x="4835527" y="1449388"/>
              <a:ext cx="9525" cy="11113"/>
            </a:xfrm>
            <a:custGeom>
              <a:avLst/>
              <a:gdLst>
                <a:gd name="T0" fmla="*/ 0 w 24"/>
                <a:gd name="T1" fmla="*/ 8 h 25"/>
                <a:gd name="T2" fmla="*/ 8 w 24"/>
                <a:gd name="T3" fmla="*/ 0 h 25"/>
                <a:gd name="T4" fmla="*/ 24 w 24"/>
                <a:gd name="T5" fmla="*/ 0 h 25"/>
                <a:gd name="T6" fmla="*/ 0 w 24"/>
                <a:gd name="T7" fmla="*/ 25 h 25"/>
                <a:gd name="T8" fmla="*/ 0 w 24"/>
                <a:gd name="T9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0" y="8"/>
                  </a:moveTo>
                  <a:lnTo>
                    <a:pt x="8" y="0"/>
                  </a:lnTo>
                  <a:lnTo>
                    <a:pt x="24" y="0"/>
                  </a:lnTo>
                  <a:lnTo>
                    <a:pt x="0" y="25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482"/>
            <p:cNvSpPr>
              <a:spLocks/>
            </p:cNvSpPr>
            <p:nvPr/>
          </p:nvSpPr>
          <p:spPr bwMode="auto">
            <a:xfrm>
              <a:off x="4835527" y="1449388"/>
              <a:ext cx="12700" cy="14288"/>
            </a:xfrm>
            <a:custGeom>
              <a:avLst/>
              <a:gdLst>
                <a:gd name="T0" fmla="*/ 0 w 32"/>
                <a:gd name="T1" fmla="*/ 16 h 34"/>
                <a:gd name="T2" fmla="*/ 16 w 32"/>
                <a:gd name="T3" fmla="*/ 0 h 34"/>
                <a:gd name="T4" fmla="*/ 32 w 32"/>
                <a:gd name="T5" fmla="*/ 0 h 34"/>
                <a:gd name="T6" fmla="*/ 0 w 32"/>
                <a:gd name="T7" fmla="*/ 34 h 34"/>
                <a:gd name="T8" fmla="*/ 0 w 32"/>
                <a:gd name="T9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4">
                  <a:moveTo>
                    <a:pt x="0" y="16"/>
                  </a:moveTo>
                  <a:lnTo>
                    <a:pt x="16" y="0"/>
                  </a:lnTo>
                  <a:lnTo>
                    <a:pt x="32" y="0"/>
                  </a:lnTo>
                  <a:lnTo>
                    <a:pt x="0" y="34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483"/>
            <p:cNvSpPr>
              <a:spLocks/>
            </p:cNvSpPr>
            <p:nvPr/>
          </p:nvSpPr>
          <p:spPr bwMode="auto">
            <a:xfrm>
              <a:off x="4835527" y="1449388"/>
              <a:ext cx="15875" cy="17463"/>
            </a:xfrm>
            <a:custGeom>
              <a:avLst/>
              <a:gdLst>
                <a:gd name="T0" fmla="*/ 0 w 39"/>
                <a:gd name="T1" fmla="*/ 25 h 42"/>
                <a:gd name="T2" fmla="*/ 24 w 39"/>
                <a:gd name="T3" fmla="*/ 0 h 42"/>
                <a:gd name="T4" fmla="*/ 39 w 39"/>
                <a:gd name="T5" fmla="*/ 0 h 42"/>
                <a:gd name="T6" fmla="*/ 0 w 39"/>
                <a:gd name="T7" fmla="*/ 42 h 42"/>
                <a:gd name="T8" fmla="*/ 0 w 39"/>
                <a:gd name="T9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2">
                  <a:moveTo>
                    <a:pt x="0" y="25"/>
                  </a:moveTo>
                  <a:lnTo>
                    <a:pt x="24" y="0"/>
                  </a:lnTo>
                  <a:lnTo>
                    <a:pt x="39" y="0"/>
                  </a:lnTo>
                  <a:lnTo>
                    <a:pt x="0" y="42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484"/>
            <p:cNvSpPr>
              <a:spLocks/>
            </p:cNvSpPr>
            <p:nvPr/>
          </p:nvSpPr>
          <p:spPr bwMode="auto">
            <a:xfrm>
              <a:off x="4835527" y="1449388"/>
              <a:ext cx="19050" cy="20638"/>
            </a:xfrm>
            <a:custGeom>
              <a:avLst/>
              <a:gdLst>
                <a:gd name="T0" fmla="*/ 0 w 47"/>
                <a:gd name="T1" fmla="*/ 34 h 50"/>
                <a:gd name="T2" fmla="*/ 32 w 47"/>
                <a:gd name="T3" fmla="*/ 0 h 50"/>
                <a:gd name="T4" fmla="*/ 47 w 47"/>
                <a:gd name="T5" fmla="*/ 0 h 50"/>
                <a:gd name="T6" fmla="*/ 0 w 47"/>
                <a:gd name="T7" fmla="*/ 50 h 50"/>
                <a:gd name="T8" fmla="*/ 0 w 47"/>
                <a:gd name="T9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50">
                  <a:moveTo>
                    <a:pt x="0" y="34"/>
                  </a:moveTo>
                  <a:lnTo>
                    <a:pt x="32" y="0"/>
                  </a:lnTo>
                  <a:lnTo>
                    <a:pt x="47" y="0"/>
                  </a:lnTo>
                  <a:lnTo>
                    <a:pt x="0" y="50"/>
                  </a:lnTo>
                  <a:lnTo>
                    <a:pt x="0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485"/>
            <p:cNvSpPr>
              <a:spLocks/>
            </p:cNvSpPr>
            <p:nvPr/>
          </p:nvSpPr>
          <p:spPr bwMode="auto">
            <a:xfrm>
              <a:off x="4835527" y="1449388"/>
              <a:ext cx="22225" cy="23813"/>
            </a:xfrm>
            <a:custGeom>
              <a:avLst/>
              <a:gdLst>
                <a:gd name="T0" fmla="*/ 0 w 54"/>
                <a:gd name="T1" fmla="*/ 42 h 58"/>
                <a:gd name="T2" fmla="*/ 39 w 54"/>
                <a:gd name="T3" fmla="*/ 0 h 58"/>
                <a:gd name="T4" fmla="*/ 54 w 54"/>
                <a:gd name="T5" fmla="*/ 0 h 58"/>
                <a:gd name="T6" fmla="*/ 0 w 54"/>
                <a:gd name="T7" fmla="*/ 58 h 58"/>
                <a:gd name="T8" fmla="*/ 0 w 54"/>
                <a:gd name="T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8">
                  <a:moveTo>
                    <a:pt x="0" y="42"/>
                  </a:moveTo>
                  <a:lnTo>
                    <a:pt x="39" y="0"/>
                  </a:lnTo>
                  <a:lnTo>
                    <a:pt x="54" y="0"/>
                  </a:lnTo>
                  <a:lnTo>
                    <a:pt x="0" y="58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486"/>
            <p:cNvSpPr>
              <a:spLocks/>
            </p:cNvSpPr>
            <p:nvPr/>
          </p:nvSpPr>
          <p:spPr bwMode="auto">
            <a:xfrm>
              <a:off x="4835527" y="1449388"/>
              <a:ext cx="23813" cy="26988"/>
            </a:xfrm>
            <a:custGeom>
              <a:avLst/>
              <a:gdLst>
                <a:gd name="T0" fmla="*/ 0 w 62"/>
                <a:gd name="T1" fmla="*/ 50 h 67"/>
                <a:gd name="T2" fmla="*/ 47 w 62"/>
                <a:gd name="T3" fmla="*/ 0 h 67"/>
                <a:gd name="T4" fmla="*/ 62 w 62"/>
                <a:gd name="T5" fmla="*/ 0 h 67"/>
                <a:gd name="T6" fmla="*/ 0 w 62"/>
                <a:gd name="T7" fmla="*/ 67 h 67"/>
                <a:gd name="T8" fmla="*/ 0 w 62"/>
                <a:gd name="T9" fmla="*/ 5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7">
                  <a:moveTo>
                    <a:pt x="0" y="50"/>
                  </a:moveTo>
                  <a:lnTo>
                    <a:pt x="47" y="0"/>
                  </a:lnTo>
                  <a:lnTo>
                    <a:pt x="62" y="0"/>
                  </a:lnTo>
                  <a:lnTo>
                    <a:pt x="0" y="67"/>
                  </a:lnTo>
                  <a:lnTo>
                    <a:pt x="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487"/>
            <p:cNvSpPr>
              <a:spLocks/>
            </p:cNvSpPr>
            <p:nvPr/>
          </p:nvSpPr>
          <p:spPr bwMode="auto">
            <a:xfrm>
              <a:off x="4835527" y="1449388"/>
              <a:ext cx="28575" cy="30163"/>
            </a:xfrm>
            <a:custGeom>
              <a:avLst/>
              <a:gdLst>
                <a:gd name="T0" fmla="*/ 0 w 70"/>
                <a:gd name="T1" fmla="*/ 58 h 76"/>
                <a:gd name="T2" fmla="*/ 54 w 70"/>
                <a:gd name="T3" fmla="*/ 0 h 76"/>
                <a:gd name="T4" fmla="*/ 70 w 70"/>
                <a:gd name="T5" fmla="*/ 0 h 76"/>
                <a:gd name="T6" fmla="*/ 0 w 70"/>
                <a:gd name="T7" fmla="*/ 76 h 76"/>
                <a:gd name="T8" fmla="*/ 0 w 70"/>
                <a:gd name="T9" fmla="*/ 5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76">
                  <a:moveTo>
                    <a:pt x="0" y="58"/>
                  </a:moveTo>
                  <a:lnTo>
                    <a:pt x="54" y="0"/>
                  </a:lnTo>
                  <a:lnTo>
                    <a:pt x="70" y="0"/>
                  </a:lnTo>
                  <a:lnTo>
                    <a:pt x="0" y="76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488"/>
            <p:cNvSpPr>
              <a:spLocks/>
            </p:cNvSpPr>
            <p:nvPr/>
          </p:nvSpPr>
          <p:spPr bwMode="auto">
            <a:xfrm>
              <a:off x="4835527" y="1449388"/>
              <a:ext cx="30163" cy="33338"/>
            </a:xfrm>
            <a:custGeom>
              <a:avLst/>
              <a:gdLst>
                <a:gd name="T0" fmla="*/ 0 w 78"/>
                <a:gd name="T1" fmla="*/ 67 h 83"/>
                <a:gd name="T2" fmla="*/ 62 w 78"/>
                <a:gd name="T3" fmla="*/ 0 h 83"/>
                <a:gd name="T4" fmla="*/ 78 w 78"/>
                <a:gd name="T5" fmla="*/ 0 h 83"/>
                <a:gd name="T6" fmla="*/ 0 w 78"/>
                <a:gd name="T7" fmla="*/ 83 h 83"/>
                <a:gd name="T8" fmla="*/ 0 w 78"/>
                <a:gd name="T9" fmla="*/ 6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83">
                  <a:moveTo>
                    <a:pt x="0" y="67"/>
                  </a:moveTo>
                  <a:lnTo>
                    <a:pt x="62" y="0"/>
                  </a:lnTo>
                  <a:lnTo>
                    <a:pt x="78" y="0"/>
                  </a:lnTo>
                  <a:lnTo>
                    <a:pt x="0" y="83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489"/>
            <p:cNvSpPr>
              <a:spLocks/>
            </p:cNvSpPr>
            <p:nvPr/>
          </p:nvSpPr>
          <p:spPr bwMode="auto">
            <a:xfrm>
              <a:off x="4835527" y="1449388"/>
              <a:ext cx="33338" cy="36513"/>
            </a:xfrm>
            <a:custGeom>
              <a:avLst/>
              <a:gdLst>
                <a:gd name="T0" fmla="*/ 0 w 85"/>
                <a:gd name="T1" fmla="*/ 76 h 92"/>
                <a:gd name="T2" fmla="*/ 70 w 85"/>
                <a:gd name="T3" fmla="*/ 0 h 92"/>
                <a:gd name="T4" fmla="*/ 85 w 85"/>
                <a:gd name="T5" fmla="*/ 0 h 92"/>
                <a:gd name="T6" fmla="*/ 0 w 85"/>
                <a:gd name="T7" fmla="*/ 92 h 92"/>
                <a:gd name="T8" fmla="*/ 0 w 85"/>
                <a:gd name="T9" fmla="*/ 7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2">
                  <a:moveTo>
                    <a:pt x="0" y="76"/>
                  </a:moveTo>
                  <a:lnTo>
                    <a:pt x="70" y="0"/>
                  </a:lnTo>
                  <a:lnTo>
                    <a:pt x="85" y="0"/>
                  </a:lnTo>
                  <a:lnTo>
                    <a:pt x="0" y="92"/>
                  </a:lnTo>
                  <a:lnTo>
                    <a:pt x="0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490"/>
            <p:cNvSpPr>
              <a:spLocks/>
            </p:cNvSpPr>
            <p:nvPr/>
          </p:nvSpPr>
          <p:spPr bwMode="auto">
            <a:xfrm>
              <a:off x="4835527" y="1449388"/>
              <a:ext cx="34925" cy="39688"/>
            </a:xfrm>
            <a:custGeom>
              <a:avLst/>
              <a:gdLst>
                <a:gd name="T0" fmla="*/ 0 w 87"/>
                <a:gd name="T1" fmla="*/ 83 h 100"/>
                <a:gd name="T2" fmla="*/ 78 w 87"/>
                <a:gd name="T3" fmla="*/ 0 h 100"/>
                <a:gd name="T4" fmla="*/ 87 w 87"/>
                <a:gd name="T5" fmla="*/ 0 h 100"/>
                <a:gd name="T6" fmla="*/ 87 w 87"/>
                <a:gd name="T7" fmla="*/ 0 h 100"/>
                <a:gd name="T8" fmla="*/ 87 w 87"/>
                <a:gd name="T9" fmla="*/ 6 h 100"/>
                <a:gd name="T10" fmla="*/ 0 w 87"/>
                <a:gd name="T11" fmla="*/ 100 h 100"/>
                <a:gd name="T12" fmla="*/ 0 w 87"/>
                <a:gd name="T13" fmla="*/ 8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0">
                  <a:moveTo>
                    <a:pt x="0" y="83"/>
                  </a:moveTo>
                  <a:lnTo>
                    <a:pt x="78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6"/>
                  </a:lnTo>
                  <a:lnTo>
                    <a:pt x="0" y="100"/>
                  </a:lnTo>
                  <a:lnTo>
                    <a:pt x="0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491"/>
            <p:cNvSpPr>
              <a:spLocks/>
            </p:cNvSpPr>
            <p:nvPr/>
          </p:nvSpPr>
          <p:spPr bwMode="auto">
            <a:xfrm>
              <a:off x="4835527" y="1449388"/>
              <a:ext cx="34925" cy="42863"/>
            </a:xfrm>
            <a:custGeom>
              <a:avLst/>
              <a:gdLst>
                <a:gd name="T0" fmla="*/ 0 w 87"/>
                <a:gd name="T1" fmla="*/ 92 h 109"/>
                <a:gd name="T2" fmla="*/ 85 w 87"/>
                <a:gd name="T3" fmla="*/ 0 h 109"/>
                <a:gd name="T4" fmla="*/ 87 w 87"/>
                <a:gd name="T5" fmla="*/ 0 h 109"/>
                <a:gd name="T6" fmla="*/ 87 w 87"/>
                <a:gd name="T7" fmla="*/ 0 h 109"/>
                <a:gd name="T8" fmla="*/ 87 w 87"/>
                <a:gd name="T9" fmla="*/ 14 h 109"/>
                <a:gd name="T10" fmla="*/ 0 w 87"/>
                <a:gd name="T11" fmla="*/ 109 h 109"/>
                <a:gd name="T12" fmla="*/ 0 w 87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9">
                  <a:moveTo>
                    <a:pt x="0" y="92"/>
                  </a:moveTo>
                  <a:lnTo>
                    <a:pt x="85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14"/>
                  </a:lnTo>
                  <a:lnTo>
                    <a:pt x="0" y="109"/>
                  </a:lnTo>
                  <a:lnTo>
                    <a:pt x="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492"/>
            <p:cNvSpPr>
              <a:spLocks/>
            </p:cNvSpPr>
            <p:nvPr/>
          </p:nvSpPr>
          <p:spPr bwMode="auto">
            <a:xfrm>
              <a:off x="4835527" y="1452563"/>
              <a:ext cx="34925" cy="44450"/>
            </a:xfrm>
            <a:custGeom>
              <a:avLst/>
              <a:gdLst>
                <a:gd name="T0" fmla="*/ 0 w 87"/>
                <a:gd name="T1" fmla="*/ 94 h 112"/>
                <a:gd name="T2" fmla="*/ 87 w 87"/>
                <a:gd name="T3" fmla="*/ 0 h 112"/>
                <a:gd name="T4" fmla="*/ 87 w 87"/>
                <a:gd name="T5" fmla="*/ 17 h 112"/>
                <a:gd name="T6" fmla="*/ 0 w 87"/>
                <a:gd name="T7" fmla="*/ 112 h 112"/>
                <a:gd name="T8" fmla="*/ 0 w 87"/>
                <a:gd name="T9" fmla="*/ 9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2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493"/>
            <p:cNvSpPr>
              <a:spLocks/>
            </p:cNvSpPr>
            <p:nvPr/>
          </p:nvSpPr>
          <p:spPr bwMode="auto">
            <a:xfrm>
              <a:off x="4835527" y="1455738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8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8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494"/>
            <p:cNvSpPr>
              <a:spLocks/>
            </p:cNvSpPr>
            <p:nvPr/>
          </p:nvSpPr>
          <p:spPr bwMode="auto">
            <a:xfrm>
              <a:off x="4835527" y="1458913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495"/>
            <p:cNvSpPr>
              <a:spLocks/>
            </p:cNvSpPr>
            <p:nvPr/>
          </p:nvSpPr>
          <p:spPr bwMode="auto">
            <a:xfrm>
              <a:off x="4835527" y="1462088"/>
              <a:ext cx="34925" cy="44450"/>
            </a:xfrm>
            <a:custGeom>
              <a:avLst/>
              <a:gdLst>
                <a:gd name="T0" fmla="*/ 0 w 87"/>
                <a:gd name="T1" fmla="*/ 93 h 110"/>
                <a:gd name="T2" fmla="*/ 87 w 87"/>
                <a:gd name="T3" fmla="*/ 0 h 110"/>
                <a:gd name="T4" fmla="*/ 87 w 87"/>
                <a:gd name="T5" fmla="*/ 16 h 110"/>
                <a:gd name="T6" fmla="*/ 0 w 87"/>
                <a:gd name="T7" fmla="*/ 110 h 110"/>
                <a:gd name="T8" fmla="*/ 0 w 87"/>
                <a:gd name="T9" fmla="*/ 9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3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0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496"/>
            <p:cNvSpPr>
              <a:spLocks/>
            </p:cNvSpPr>
            <p:nvPr/>
          </p:nvSpPr>
          <p:spPr bwMode="auto">
            <a:xfrm>
              <a:off x="4835527" y="1465263"/>
              <a:ext cx="34925" cy="44450"/>
            </a:xfrm>
            <a:custGeom>
              <a:avLst/>
              <a:gdLst>
                <a:gd name="T0" fmla="*/ 0 w 87"/>
                <a:gd name="T1" fmla="*/ 95 h 112"/>
                <a:gd name="T2" fmla="*/ 87 w 87"/>
                <a:gd name="T3" fmla="*/ 0 h 112"/>
                <a:gd name="T4" fmla="*/ 87 w 87"/>
                <a:gd name="T5" fmla="*/ 17 h 112"/>
                <a:gd name="T6" fmla="*/ 0 w 87"/>
                <a:gd name="T7" fmla="*/ 112 h 112"/>
                <a:gd name="T8" fmla="*/ 0 w 87"/>
                <a:gd name="T9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2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497"/>
            <p:cNvSpPr>
              <a:spLocks/>
            </p:cNvSpPr>
            <p:nvPr/>
          </p:nvSpPr>
          <p:spPr bwMode="auto">
            <a:xfrm>
              <a:off x="4835527" y="1468438"/>
              <a:ext cx="34925" cy="44450"/>
            </a:xfrm>
            <a:custGeom>
              <a:avLst/>
              <a:gdLst>
                <a:gd name="T0" fmla="*/ 0 w 87"/>
                <a:gd name="T1" fmla="*/ 94 h 110"/>
                <a:gd name="T2" fmla="*/ 87 w 87"/>
                <a:gd name="T3" fmla="*/ 0 h 110"/>
                <a:gd name="T4" fmla="*/ 87 w 87"/>
                <a:gd name="T5" fmla="*/ 17 h 110"/>
                <a:gd name="T6" fmla="*/ 0 w 87"/>
                <a:gd name="T7" fmla="*/ 110 h 110"/>
                <a:gd name="T8" fmla="*/ 0 w 87"/>
                <a:gd name="T9" fmla="*/ 9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498"/>
            <p:cNvSpPr>
              <a:spLocks/>
            </p:cNvSpPr>
            <p:nvPr/>
          </p:nvSpPr>
          <p:spPr bwMode="auto">
            <a:xfrm>
              <a:off x="4835527" y="1471613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99"/>
            <p:cNvSpPr>
              <a:spLocks/>
            </p:cNvSpPr>
            <p:nvPr/>
          </p:nvSpPr>
          <p:spPr bwMode="auto">
            <a:xfrm>
              <a:off x="4835527" y="1474788"/>
              <a:ext cx="34925" cy="44450"/>
            </a:xfrm>
            <a:custGeom>
              <a:avLst/>
              <a:gdLst>
                <a:gd name="T0" fmla="*/ 0 w 87"/>
                <a:gd name="T1" fmla="*/ 93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3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500"/>
            <p:cNvSpPr>
              <a:spLocks/>
            </p:cNvSpPr>
            <p:nvPr/>
          </p:nvSpPr>
          <p:spPr bwMode="auto">
            <a:xfrm>
              <a:off x="4835527" y="1477963"/>
              <a:ext cx="34925" cy="44450"/>
            </a:xfrm>
            <a:custGeom>
              <a:avLst/>
              <a:gdLst>
                <a:gd name="T0" fmla="*/ 0 w 87"/>
                <a:gd name="T1" fmla="*/ 95 h 112"/>
                <a:gd name="T2" fmla="*/ 87 w 87"/>
                <a:gd name="T3" fmla="*/ 0 h 112"/>
                <a:gd name="T4" fmla="*/ 87 w 87"/>
                <a:gd name="T5" fmla="*/ 18 h 112"/>
                <a:gd name="T6" fmla="*/ 0 w 87"/>
                <a:gd name="T7" fmla="*/ 112 h 112"/>
                <a:gd name="T8" fmla="*/ 0 w 87"/>
                <a:gd name="T9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5"/>
                  </a:moveTo>
                  <a:lnTo>
                    <a:pt x="87" y="0"/>
                  </a:lnTo>
                  <a:lnTo>
                    <a:pt x="87" y="18"/>
                  </a:lnTo>
                  <a:lnTo>
                    <a:pt x="0" y="112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501"/>
            <p:cNvSpPr>
              <a:spLocks/>
            </p:cNvSpPr>
            <p:nvPr/>
          </p:nvSpPr>
          <p:spPr bwMode="auto">
            <a:xfrm>
              <a:off x="4835527" y="1481138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7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502"/>
            <p:cNvSpPr>
              <a:spLocks/>
            </p:cNvSpPr>
            <p:nvPr/>
          </p:nvSpPr>
          <p:spPr bwMode="auto">
            <a:xfrm>
              <a:off x="4835527" y="1485900"/>
              <a:ext cx="34925" cy="42863"/>
            </a:xfrm>
            <a:custGeom>
              <a:avLst/>
              <a:gdLst>
                <a:gd name="T0" fmla="*/ 0 w 87"/>
                <a:gd name="T1" fmla="*/ 94 h 110"/>
                <a:gd name="T2" fmla="*/ 87 w 87"/>
                <a:gd name="T3" fmla="*/ 0 h 110"/>
                <a:gd name="T4" fmla="*/ 87 w 87"/>
                <a:gd name="T5" fmla="*/ 16 h 110"/>
                <a:gd name="T6" fmla="*/ 0 w 87"/>
                <a:gd name="T7" fmla="*/ 110 h 110"/>
                <a:gd name="T8" fmla="*/ 0 w 87"/>
                <a:gd name="T9" fmla="*/ 9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4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503"/>
            <p:cNvSpPr>
              <a:spLocks/>
            </p:cNvSpPr>
            <p:nvPr/>
          </p:nvSpPr>
          <p:spPr bwMode="auto">
            <a:xfrm>
              <a:off x="4835527" y="1489075"/>
              <a:ext cx="34925" cy="42863"/>
            </a:xfrm>
            <a:custGeom>
              <a:avLst/>
              <a:gdLst>
                <a:gd name="T0" fmla="*/ 0 w 87"/>
                <a:gd name="T1" fmla="*/ 94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4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504"/>
            <p:cNvSpPr>
              <a:spLocks/>
            </p:cNvSpPr>
            <p:nvPr/>
          </p:nvSpPr>
          <p:spPr bwMode="auto">
            <a:xfrm>
              <a:off x="4835527" y="1492250"/>
              <a:ext cx="34925" cy="44450"/>
            </a:xfrm>
            <a:custGeom>
              <a:avLst/>
              <a:gdLst>
                <a:gd name="T0" fmla="*/ 0 w 87"/>
                <a:gd name="T1" fmla="*/ 94 h 112"/>
                <a:gd name="T2" fmla="*/ 87 w 87"/>
                <a:gd name="T3" fmla="*/ 0 h 112"/>
                <a:gd name="T4" fmla="*/ 87 w 87"/>
                <a:gd name="T5" fmla="*/ 17 h 112"/>
                <a:gd name="T6" fmla="*/ 0 w 87"/>
                <a:gd name="T7" fmla="*/ 112 h 112"/>
                <a:gd name="T8" fmla="*/ 0 w 87"/>
                <a:gd name="T9" fmla="*/ 9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2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05"/>
            <p:cNvSpPr>
              <a:spLocks/>
            </p:cNvSpPr>
            <p:nvPr/>
          </p:nvSpPr>
          <p:spPr bwMode="auto">
            <a:xfrm>
              <a:off x="4835527" y="1495425"/>
              <a:ext cx="34925" cy="44450"/>
            </a:xfrm>
            <a:custGeom>
              <a:avLst/>
              <a:gdLst>
                <a:gd name="T0" fmla="*/ 0 w 87"/>
                <a:gd name="T1" fmla="*/ 95 h 112"/>
                <a:gd name="T2" fmla="*/ 87 w 87"/>
                <a:gd name="T3" fmla="*/ 0 h 112"/>
                <a:gd name="T4" fmla="*/ 87 w 87"/>
                <a:gd name="T5" fmla="*/ 18 h 112"/>
                <a:gd name="T6" fmla="*/ 0 w 87"/>
                <a:gd name="T7" fmla="*/ 112 h 112"/>
                <a:gd name="T8" fmla="*/ 0 w 87"/>
                <a:gd name="T9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5"/>
                  </a:moveTo>
                  <a:lnTo>
                    <a:pt x="87" y="0"/>
                  </a:lnTo>
                  <a:lnTo>
                    <a:pt x="87" y="18"/>
                  </a:lnTo>
                  <a:lnTo>
                    <a:pt x="0" y="112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06"/>
            <p:cNvSpPr>
              <a:spLocks/>
            </p:cNvSpPr>
            <p:nvPr/>
          </p:nvSpPr>
          <p:spPr bwMode="auto">
            <a:xfrm>
              <a:off x="4835527" y="1498600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7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07"/>
            <p:cNvSpPr>
              <a:spLocks/>
            </p:cNvSpPr>
            <p:nvPr/>
          </p:nvSpPr>
          <p:spPr bwMode="auto">
            <a:xfrm>
              <a:off x="4835527" y="1501775"/>
              <a:ext cx="34925" cy="44450"/>
            </a:xfrm>
            <a:custGeom>
              <a:avLst/>
              <a:gdLst>
                <a:gd name="T0" fmla="*/ 0 w 87"/>
                <a:gd name="T1" fmla="*/ 94 h 110"/>
                <a:gd name="T2" fmla="*/ 87 w 87"/>
                <a:gd name="T3" fmla="*/ 0 h 110"/>
                <a:gd name="T4" fmla="*/ 87 w 87"/>
                <a:gd name="T5" fmla="*/ 16 h 110"/>
                <a:gd name="T6" fmla="*/ 0 w 87"/>
                <a:gd name="T7" fmla="*/ 110 h 110"/>
                <a:gd name="T8" fmla="*/ 0 w 87"/>
                <a:gd name="T9" fmla="*/ 9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4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508"/>
            <p:cNvSpPr>
              <a:spLocks/>
            </p:cNvSpPr>
            <p:nvPr/>
          </p:nvSpPr>
          <p:spPr bwMode="auto">
            <a:xfrm>
              <a:off x="4835527" y="1504950"/>
              <a:ext cx="34925" cy="44450"/>
            </a:xfrm>
            <a:custGeom>
              <a:avLst/>
              <a:gdLst>
                <a:gd name="T0" fmla="*/ 0 w 87"/>
                <a:gd name="T1" fmla="*/ 94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4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509"/>
            <p:cNvSpPr>
              <a:spLocks/>
            </p:cNvSpPr>
            <p:nvPr/>
          </p:nvSpPr>
          <p:spPr bwMode="auto">
            <a:xfrm>
              <a:off x="4835527" y="1508125"/>
              <a:ext cx="34925" cy="44450"/>
            </a:xfrm>
            <a:custGeom>
              <a:avLst/>
              <a:gdLst>
                <a:gd name="T0" fmla="*/ 0 w 87"/>
                <a:gd name="T1" fmla="*/ 94 h 112"/>
                <a:gd name="T2" fmla="*/ 87 w 87"/>
                <a:gd name="T3" fmla="*/ 0 h 112"/>
                <a:gd name="T4" fmla="*/ 87 w 87"/>
                <a:gd name="T5" fmla="*/ 17 h 112"/>
                <a:gd name="T6" fmla="*/ 0 w 87"/>
                <a:gd name="T7" fmla="*/ 112 h 112"/>
                <a:gd name="T8" fmla="*/ 0 w 87"/>
                <a:gd name="T9" fmla="*/ 9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2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510"/>
            <p:cNvSpPr>
              <a:spLocks/>
            </p:cNvSpPr>
            <p:nvPr/>
          </p:nvSpPr>
          <p:spPr bwMode="auto">
            <a:xfrm>
              <a:off x="4835527" y="1511300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7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511"/>
            <p:cNvSpPr>
              <a:spLocks/>
            </p:cNvSpPr>
            <p:nvPr/>
          </p:nvSpPr>
          <p:spPr bwMode="auto">
            <a:xfrm>
              <a:off x="4835527" y="1514475"/>
              <a:ext cx="34925" cy="44450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512"/>
            <p:cNvSpPr>
              <a:spLocks/>
            </p:cNvSpPr>
            <p:nvPr/>
          </p:nvSpPr>
          <p:spPr bwMode="auto">
            <a:xfrm>
              <a:off x="4835527" y="1519238"/>
              <a:ext cx="34925" cy="42863"/>
            </a:xfrm>
            <a:custGeom>
              <a:avLst/>
              <a:gdLst>
                <a:gd name="T0" fmla="*/ 0 w 87"/>
                <a:gd name="T1" fmla="*/ 94 h 111"/>
                <a:gd name="T2" fmla="*/ 87 w 87"/>
                <a:gd name="T3" fmla="*/ 0 h 111"/>
                <a:gd name="T4" fmla="*/ 87 w 87"/>
                <a:gd name="T5" fmla="*/ 17 h 111"/>
                <a:gd name="T6" fmla="*/ 0 w 87"/>
                <a:gd name="T7" fmla="*/ 111 h 111"/>
                <a:gd name="T8" fmla="*/ 0 w 87"/>
                <a:gd name="T9" fmla="*/ 9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1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513"/>
            <p:cNvSpPr>
              <a:spLocks/>
            </p:cNvSpPr>
            <p:nvPr/>
          </p:nvSpPr>
          <p:spPr bwMode="auto">
            <a:xfrm>
              <a:off x="4835527" y="1522413"/>
              <a:ext cx="34925" cy="42863"/>
            </a:xfrm>
            <a:custGeom>
              <a:avLst/>
              <a:gdLst>
                <a:gd name="T0" fmla="*/ 0 w 87"/>
                <a:gd name="T1" fmla="*/ 95 h 112"/>
                <a:gd name="T2" fmla="*/ 87 w 87"/>
                <a:gd name="T3" fmla="*/ 0 h 112"/>
                <a:gd name="T4" fmla="*/ 87 w 87"/>
                <a:gd name="T5" fmla="*/ 17 h 112"/>
                <a:gd name="T6" fmla="*/ 0 w 87"/>
                <a:gd name="T7" fmla="*/ 112 h 112"/>
                <a:gd name="T8" fmla="*/ 0 w 87"/>
                <a:gd name="T9" fmla="*/ 9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2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2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514"/>
            <p:cNvSpPr>
              <a:spLocks/>
            </p:cNvSpPr>
            <p:nvPr/>
          </p:nvSpPr>
          <p:spPr bwMode="auto">
            <a:xfrm>
              <a:off x="4835527" y="1525588"/>
              <a:ext cx="34925" cy="42863"/>
            </a:xfrm>
            <a:custGeom>
              <a:avLst/>
              <a:gdLst>
                <a:gd name="T0" fmla="*/ 0 w 87"/>
                <a:gd name="T1" fmla="*/ 94 h 110"/>
                <a:gd name="T2" fmla="*/ 87 w 87"/>
                <a:gd name="T3" fmla="*/ 0 h 110"/>
                <a:gd name="T4" fmla="*/ 87 w 87"/>
                <a:gd name="T5" fmla="*/ 17 h 110"/>
                <a:gd name="T6" fmla="*/ 0 w 87"/>
                <a:gd name="T7" fmla="*/ 110 h 110"/>
                <a:gd name="T8" fmla="*/ 0 w 87"/>
                <a:gd name="T9" fmla="*/ 9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0">
                  <a:moveTo>
                    <a:pt x="0" y="94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0" y="110"/>
                  </a:lnTo>
                  <a:lnTo>
                    <a:pt x="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515"/>
            <p:cNvSpPr>
              <a:spLocks/>
            </p:cNvSpPr>
            <p:nvPr/>
          </p:nvSpPr>
          <p:spPr bwMode="auto">
            <a:xfrm>
              <a:off x="4835527" y="1528763"/>
              <a:ext cx="34925" cy="42863"/>
            </a:xfrm>
            <a:custGeom>
              <a:avLst/>
              <a:gdLst>
                <a:gd name="T0" fmla="*/ 0 w 87"/>
                <a:gd name="T1" fmla="*/ 95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5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516"/>
            <p:cNvSpPr>
              <a:spLocks/>
            </p:cNvSpPr>
            <p:nvPr/>
          </p:nvSpPr>
          <p:spPr bwMode="auto">
            <a:xfrm>
              <a:off x="4835527" y="1531938"/>
              <a:ext cx="34925" cy="44450"/>
            </a:xfrm>
            <a:custGeom>
              <a:avLst/>
              <a:gdLst>
                <a:gd name="T0" fmla="*/ 0 w 87"/>
                <a:gd name="T1" fmla="*/ 93 h 111"/>
                <a:gd name="T2" fmla="*/ 87 w 87"/>
                <a:gd name="T3" fmla="*/ 0 h 111"/>
                <a:gd name="T4" fmla="*/ 87 w 87"/>
                <a:gd name="T5" fmla="*/ 16 h 111"/>
                <a:gd name="T6" fmla="*/ 0 w 87"/>
                <a:gd name="T7" fmla="*/ 111 h 111"/>
                <a:gd name="T8" fmla="*/ 0 w 87"/>
                <a:gd name="T9" fmla="*/ 9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1">
                  <a:moveTo>
                    <a:pt x="0" y="93"/>
                  </a:moveTo>
                  <a:lnTo>
                    <a:pt x="87" y="0"/>
                  </a:lnTo>
                  <a:lnTo>
                    <a:pt x="87" y="16"/>
                  </a:lnTo>
                  <a:lnTo>
                    <a:pt x="0" y="111"/>
                  </a:lnTo>
                  <a:lnTo>
                    <a:pt x="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517"/>
            <p:cNvSpPr>
              <a:spLocks/>
            </p:cNvSpPr>
            <p:nvPr/>
          </p:nvSpPr>
          <p:spPr bwMode="auto">
            <a:xfrm>
              <a:off x="4835527" y="1535113"/>
              <a:ext cx="34925" cy="42863"/>
            </a:xfrm>
            <a:custGeom>
              <a:avLst/>
              <a:gdLst>
                <a:gd name="T0" fmla="*/ 0 w 87"/>
                <a:gd name="T1" fmla="*/ 95 h 109"/>
                <a:gd name="T2" fmla="*/ 87 w 87"/>
                <a:gd name="T3" fmla="*/ 0 h 109"/>
                <a:gd name="T4" fmla="*/ 87 w 87"/>
                <a:gd name="T5" fmla="*/ 18 h 109"/>
                <a:gd name="T6" fmla="*/ 2 w 87"/>
                <a:gd name="T7" fmla="*/ 109 h 109"/>
                <a:gd name="T8" fmla="*/ 0 w 87"/>
                <a:gd name="T9" fmla="*/ 109 h 109"/>
                <a:gd name="T10" fmla="*/ 0 w 87"/>
                <a:gd name="T11" fmla="*/ 9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09">
                  <a:moveTo>
                    <a:pt x="0" y="95"/>
                  </a:moveTo>
                  <a:lnTo>
                    <a:pt x="87" y="0"/>
                  </a:lnTo>
                  <a:lnTo>
                    <a:pt x="87" y="18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518"/>
            <p:cNvSpPr>
              <a:spLocks/>
            </p:cNvSpPr>
            <p:nvPr/>
          </p:nvSpPr>
          <p:spPr bwMode="auto">
            <a:xfrm>
              <a:off x="4835527" y="1538288"/>
              <a:ext cx="34925" cy="39688"/>
            </a:xfrm>
            <a:custGeom>
              <a:avLst/>
              <a:gdLst>
                <a:gd name="T0" fmla="*/ 0 w 87"/>
                <a:gd name="T1" fmla="*/ 95 h 100"/>
                <a:gd name="T2" fmla="*/ 87 w 87"/>
                <a:gd name="T3" fmla="*/ 0 h 100"/>
                <a:gd name="T4" fmla="*/ 87 w 87"/>
                <a:gd name="T5" fmla="*/ 17 h 100"/>
                <a:gd name="T6" fmla="*/ 10 w 87"/>
                <a:gd name="T7" fmla="*/ 100 h 100"/>
                <a:gd name="T8" fmla="*/ 0 w 87"/>
                <a:gd name="T9" fmla="*/ 100 h 100"/>
                <a:gd name="T10" fmla="*/ 0 w 87"/>
                <a:gd name="T11" fmla="*/ 9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" h="100">
                  <a:moveTo>
                    <a:pt x="0" y="95"/>
                  </a:moveTo>
                  <a:lnTo>
                    <a:pt x="87" y="0"/>
                  </a:lnTo>
                  <a:lnTo>
                    <a:pt x="87" y="17"/>
                  </a:lnTo>
                  <a:lnTo>
                    <a:pt x="10" y="100"/>
                  </a:lnTo>
                  <a:lnTo>
                    <a:pt x="0" y="100"/>
                  </a:lnTo>
                  <a:lnTo>
                    <a:pt x="0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519"/>
            <p:cNvSpPr>
              <a:spLocks/>
            </p:cNvSpPr>
            <p:nvPr/>
          </p:nvSpPr>
          <p:spPr bwMode="auto">
            <a:xfrm>
              <a:off x="4837114" y="1541463"/>
              <a:ext cx="33338" cy="36513"/>
            </a:xfrm>
            <a:custGeom>
              <a:avLst/>
              <a:gdLst>
                <a:gd name="T0" fmla="*/ 0 w 85"/>
                <a:gd name="T1" fmla="*/ 91 h 91"/>
                <a:gd name="T2" fmla="*/ 85 w 85"/>
                <a:gd name="T3" fmla="*/ 0 h 91"/>
                <a:gd name="T4" fmla="*/ 85 w 85"/>
                <a:gd name="T5" fmla="*/ 17 h 91"/>
                <a:gd name="T6" fmla="*/ 17 w 85"/>
                <a:gd name="T7" fmla="*/ 91 h 91"/>
                <a:gd name="T8" fmla="*/ 0 w 85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1">
                  <a:moveTo>
                    <a:pt x="0" y="91"/>
                  </a:moveTo>
                  <a:lnTo>
                    <a:pt x="85" y="0"/>
                  </a:lnTo>
                  <a:lnTo>
                    <a:pt x="85" y="17"/>
                  </a:lnTo>
                  <a:lnTo>
                    <a:pt x="17" y="91"/>
                  </a:lnTo>
                  <a:lnTo>
                    <a:pt x="0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520"/>
            <p:cNvSpPr>
              <a:spLocks/>
            </p:cNvSpPr>
            <p:nvPr/>
          </p:nvSpPr>
          <p:spPr bwMode="auto">
            <a:xfrm>
              <a:off x="4840289" y="1544638"/>
              <a:ext cx="30163" cy="33338"/>
            </a:xfrm>
            <a:custGeom>
              <a:avLst/>
              <a:gdLst>
                <a:gd name="T0" fmla="*/ 0 w 77"/>
                <a:gd name="T1" fmla="*/ 83 h 83"/>
                <a:gd name="T2" fmla="*/ 77 w 77"/>
                <a:gd name="T3" fmla="*/ 0 h 83"/>
                <a:gd name="T4" fmla="*/ 77 w 77"/>
                <a:gd name="T5" fmla="*/ 16 h 83"/>
                <a:gd name="T6" fmla="*/ 16 w 77"/>
                <a:gd name="T7" fmla="*/ 83 h 83"/>
                <a:gd name="T8" fmla="*/ 0 w 77"/>
                <a:gd name="T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3">
                  <a:moveTo>
                    <a:pt x="0" y="83"/>
                  </a:moveTo>
                  <a:lnTo>
                    <a:pt x="77" y="0"/>
                  </a:lnTo>
                  <a:lnTo>
                    <a:pt x="77" y="16"/>
                  </a:lnTo>
                  <a:lnTo>
                    <a:pt x="16" y="83"/>
                  </a:lnTo>
                  <a:lnTo>
                    <a:pt x="0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521"/>
            <p:cNvSpPr>
              <a:spLocks/>
            </p:cNvSpPr>
            <p:nvPr/>
          </p:nvSpPr>
          <p:spPr bwMode="auto">
            <a:xfrm>
              <a:off x="4843464" y="1547813"/>
              <a:ext cx="26988" cy="30163"/>
            </a:xfrm>
            <a:custGeom>
              <a:avLst/>
              <a:gdLst>
                <a:gd name="T0" fmla="*/ 0 w 68"/>
                <a:gd name="T1" fmla="*/ 74 h 74"/>
                <a:gd name="T2" fmla="*/ 68 w 68"/>
                <a:gd name="T3" fmla="*/ 0 h 74"/>
                <a:gd name="T4" fmla="*/ 68 w 68"/>
                <a:gd name="T5" fmla="*/ 16 h 74"/>
                <a:gd name="T6" fmla="*/ 15 w 68"/>
                <a:gd name="T7" fmla="*/ 74 h 74"/>
                <a:gd name="T8" fmla="*/ 0 w 68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74">
                  <a:moveTo>
                    <a:pt x="0" y="74"/>
                  </a:moveTo>
                  <a:lnTo>
                    <a:pt x="68" y="0"/>
                  </a:lnTo>
                  <a:lnTo>
                    <a:pt x="68" y="16"/>
                  </a:lnTo>
                  <a:lnTo>
                    <a:pt x="15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522"/>
            <p:cNvSpPr>
              <a:spLocks/>
            </p:cNvSpPr>
            <p:nvPr/>
          </p:nvSpPr>
          <p:spPr bwMode="auto">
            <a:xfrm>
              <a:off x="4846639" y="1550988"/>
              <a:ext cx="23813" cy="26988"/>
            </a:xfrm>
            <a:custGeom>
              <a:avLst/>
              <a:gdLst>
                <a:gd name="T0" fmla="*/ 0 w 61"/>
                <a:gd name="T1" fmla="*/ 67 h 67"/>
                <a:gd name="T2" fmla="*/ 61 w 61"/>
                <a:gd name="T3" fmla="*/ 0 h 67"/>
                <a:gd name="T4" fmla="*/ 61 w 61"/>
                <a:gd name="T5" fmla="*/ 18 h 67"/>
                <a:gd name="T6" fmla="*/ 15 w 61"/>
                <a:gd name="T7" fmla="*/ 67 h 67"/>
                <a:gd name="T8" fmla="*/ 0 w 61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67">
                  <a:moveTo>
                    <a:pt x="0" y="67"/>
                  </a:moveTo>
                  <a:lnTo>
                    <a:pt x="61" y="0"/>
                  </a:lnTo>
                  <a:lnTo>
                    <a:pt x="61" y="18"/>
                  </a:lnTo>
                  <a:lnTo>
                    <a:pt x="15" y="67"/>
                  </a:lnTo>
                  <a:lnTo>
                    <a:pt x="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523"/>
            <p:cNvSpPr>
              <a:spLocks/>
            </p:cNvSpPr>
            <p:nvPr/>
          </p:nvSpPr>
          <p:spPr bwMode="auto">
            <a:xfrm>
              <a:off x="4848227" y="1554163"/>
              <a:ext cx="22225" cy="23813"/>
            </a:xfrm>
            <a:custGeom>
              <a:avLst/>
              <a:gdLst>
                <a:gd name="T0" fmla="*/ 0 w 53"/>
                <a:gd name="T1" fmla="*/ 58 h 58"/>
                <a:gd name="T2" fmla="*/ 53 w 53"/>
                <a:gd name="T3" fmla="*/ 0 h 58"/>
                <a:gd name="T4" fmla="*/ 53 w 53"/>
                <a:gd name="T5" fmla="*/ 17 h 58"/>
                <a:gd name="T6" fmla="*/ 15 w 53"/>
                <a:gd name="T7" fmla="*/ 58 h 58"/>
                <a:gd name="T8" fmla="*/ 0 w 5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8">
                  <a:moveTo>
                    <a:pt x="0" y="58"/>
                  </a:moveTo>
                  <a:lnTo>
                    <a:pt x="53" y="0"/>
                  </a:lnTo>
                  <a:lnTo>
                    <a:pt x="53" y="17"/>
                  </a:lnTo>
                  <a:lnTo>
                    <a:pt x="15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524"/>
            <p:cNvSpPr>
              <a:spLocks/>
            </p:cNvSpPr>
            <p:nvPr/>
          </p:nvSpPr>
          <p:spPr bwMode="auto">
            <a:xfrm>
              <a:off x="4851402" y="1558925"/>
              <a:ext cx="19050" cy="19050"/>
            </a:xfrm>
            <a:custGeom>
              <a:avLst/>
              <a:gdLst>
                <a:gd name="T0" fmla="*/ 0 w 46"/>
                <a:gd name="T1" fmla="*/ 49 h 49"/>
                <a:gd name="T2" fmla="*/ 46 w 46"/>
                <a:gd name="T3" fmla="*/ 0 h 49"/>
                <a:gd name="T4" fmla="*/ 46 w 46"/>
                <a:gd name="T5" fmla="*/ 16 h 49"/>
                <a:gd name="T6" fmla="*/ 15 w 46"/>
                <a:gd name="T7" fmla="*/ 49 h 49"/>
                <a:gd name="T8" fmla="*/ 0 w 46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9">
                  <a:moveTo>
                    <a:pt x="0" y="49"/>
                  </a:moveTo>
                  <a:lnTo>
                    <a:pt x="46" y="0"/>
                  </a:lnTo>
                  <a:lnTo>
                    <a:pt x="46" y="16"/>
                  </a:lnTo>
                  <a:lnTo>
                    <a:pt x="15" y="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525"/>
            <p:cNvSpPr>
              <a:spLocks/>
            </p:cNvSpPr>
            <p:nvPr/>
          </p:nvSpPr>
          <p:spPr bwMode="auto">
            <a:xfrm>
              <a:off x="4854577" y="1562100"/>
              <a:ext cx="15875" cy="15875"/>
            </a:xfrm>
            <a:custGeom>
              <a:avLst/>
              <a:gdLst>
                <a:gd name="T0" fmla="*/ 0 w 38"/>
                <a:gd name="T1" fmla="*/ 41 h 41"/>
                <a:gd name="T2" fmla="*/ 38 w 38"/>
                <a:gd name="T3" fmla="*/ 0 h 41"/>
                <a:gd name="T4" fmla="*/ 38 w 38"/>
                <a:gd name="T5" fmla="*/ 16 h 41"/>
                <a:gd name="T6" fmla="*/ 15 w 38"/>
                <a:gd name="T7" fmla="*/ 41 h 41"/>
                <a:gd name="T8" fmla="*/ 0 w 38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1">
                  <a:moveTo>
                    <a:pt x="0" y="41"/>
                  </a:moveTo>
                  <a:lnTo>
                    <a:pt x="38" y="0"/>
                  </a:lnTo>
                  <a:lnTo>
                    <a:pt x="38" y="16"/>
                  </a:lnTo>
                  <a:lnTo>
                    <a:pt x="15" y="41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526"/>
            <p:cNvSpPr>
              <a:spLocks/>
            </p:cNvSpPr>
            <p:nvPr/>
          </p:nvSpPr>
          <p:spPr bwMode="auto">
            <a:xfrm>
              <a:off x="4857752" y="1565275"/>
              <a:ext cx="12700" cy="12700"/>
            </a:xfrm>
            <a:custGeom>
              <a:avLst/>
              <a:gdLst>
                <a:gd name="T0" fmla="*/ 0 w 31"/>
                <a:gd name="T1" fmla="*/ 33 h 33"/>
                <a:gd name="T2" fmla="*/ 31 w 31"/>
                <a:gd name="T3" fmla="*/ 0 h 33"/>
                <a:gd name="T4" fmla="*/ 31 w 31"/>
                <a:gd name="T5" fmla="*/ 17 h 33"/>
                <a:gd name="T6" fmla="*/ 16 w 31"/>
                <a:gd name="T7" fmla="*/ 33 h 33"/>
                <a:gd name="T8" fmla="*/ 0 w 31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3">
                  <a:moveTo>
                    <a:pt x="0" y="33"/>
                  </a:moveTo>
                  <a:lnTo>
                    <a:pt x="31" y="0"/>
                  </a:lnTo>
                  <a:lnTo>
                    <a:pt x="31" y="17"/>
                  </a:lnTo>
                  <a:lnTo>
                    <a:pt x="16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527"/>
            <p:cNvSpPr>
              <a:spLocks/>
            </p:cNvSpPr>
            <p:nvPr/>
          </p:nvSpPr>
          <p:spPr bwMode="auto">
            <a:xfrm>
              <a:off x="4860927" y="1568450"/>
              <a:ext cx="9525" cy="9525"/>
            </a:xfrm>
            <a:custGeom>
              <a:avLst/>
              <a:gdLst>
                <a:gd name="T0" fmla="*/ 0 w 23"/>
                <a:gd name="T1" fmla="*/ 25 h 25"/>
                <a:gd name="T2" fmla="*/ 23 w 23"/>
                <a:gd name="T3" fmla="*/ 0 h 25"/>
                <a:gd name="T4" fmla="*/ 23 w 23"/>
                <a:gd name="T5" fmla="*/ 17 h 25"/>
                <a:gd name="T6" fmla="*/ 16 w 23"/>
                <a:gd name="T7" fmla="*/ 25 h 25"/>
                <a:gd name="T8" fmla="*/ 0 w 23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5">
                  <a:moveTo>
                    <a:pt x="0" y="25"/>
                  </a:moveTo>
                  <a:lnTo>
                    <a:pt x="23" y="0"/>
                  </a:lnTo>
                  <a:lnTo>
                    <a:pt x="23" y="17"/>
                  </a:lnTo>
                  <a:lnTo>
                    <a:pt x="16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528"/>
            <p:cNvSpPr>
              <a:spLocks/>
            </p:cNvSpPr>
            <p:nvPr/>
          </p:nvSpPr>
          <p:spPr bwMode="auto">
            <a:xfrm>
              <a:off x="4864102" y="1571625"/>
              <a:ext cx="6350" cy="6350"/>
            </a:xfrm>
            <a:custGeom>
              <a:avLst/>
              <a:gdLst>
                <a:gd name="T0" fmla="*/ 0 w 15"/>
                <a:gd name="T1" fmla="*/ 16 h 16"/>
                <a:gd name="T2" fmla="*/ 15 w 15"/>
                <a:gd name="T3" fmla="*/ 0 h 16"/>
                <a:gd name="T4" fmla="*/ 15 w 15"/>
                <a:gd name="T5" fmla="*/ 16 h 16"/>
                <a:gd name="T6" fmla="*/ 15 w 15"/>
                <a:gd name="T7" fmla="*/ 16 h 16"/>
                <a:gd name="T8" fmla="*/ 0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0" y="16"/>
                  </a:moveTo>
                  <a:lnTo>
                    <a:pt x="15" y="0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529"/>
            <p:cNvSpPr>
              <a:spLocks/>
            </p:cNvSpPr>
            <p:nvPr/>
          </p:nvSpPr>
          <p:spPr bwMode="auto">
            <a:xfrm>
              <a:off x="4867277" y="1574800"/>
              <a:ext cx="3175" cy="3175"/>
            </a:xfrm>
            <a:custGeom>
              <a:avLst/>
              <a:gdLst>
                <a:gd name="T0" fmla="*/ 0 w 7"/>
                <a:gd name="T1" fmla="*/ 8 h 8"/>
                <a:gd name="T2" fmla="*/ 7 w 7"/>
                <a:gd name="T3" fmla="*/ 0 h 8"/>
                <a:gd name="T4" fmla="*/ 7 w 7"/>
                <a:gd name="T5" fmla="*/ 8 h 8"/>
                <a:gd name="T6" fmla="*/ 0 w 7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8">
                  <a:moveTo>
                    <a:pt x="0" y="8"/>
                  </a:moveTo>
                  <a:lnTo>
                    <a:pt x="7" y="0"/>
                  </a:lnTo>
                  <a:lnTo>
                    <a:pt x="7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530"/>
            <p:cNvSpPr>
              <a:spLocks noChangeArrowheads="1"/>
            </p:cNvSpPr>
            <p:nvPr/>
          </p:nvSpPr>
          <p:spPr bwMode="auto">
            <a:xfrm>
              <a:off x="4870452" y="1577975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Rectangle 531"/>
            <p:cNvSpPr>
              <a:spLocks noChangeArrowheads="1"/>
            </p:cNvSpPr>
            <p:nvPr/>
          </p:nvSpPr>
          <p:spPr bwMode="auto">
            <a:xfrm>
              <a:off x="4835527" y="1449388"/>
              <a:ext cx="34925" cy="128588"/>
            </a:xfrm>
            <a:prstGeom prst="rect">
              <a:avLst/>
            </a:prstGeom>
            <a:solidFill>
              <a:srgbClr val="FFFFFF"/>
            </a:solidFill>
            <a:ln w="4">
              <a:solidFill>
                <a:srgbClr val="1F1A17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Rectangle 532"/>
            <p:cNvSpPr>
              <a:spLocks noChangeArrowheads="1"/>
            </p:cNvSpPr>
            <p:nvPr/>
          </p:nvSpPr>
          <p:spPr bwMode="auto">
            <a:xfrm>
              <a:off x="4887914" y="1422400"/>
              <a:ext cx="34925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7" name="Freeform 7"/>
          <p:cNvSpPr>
            <a:spLocks/>
          </p:cNvSpPr>
          <p:nvPr/>
        </p:nvSpPr>
        <p:spPr bwMode="auto">
          <a:xfrm>
            <a:off x="6265539" y="3624281"/>
            <a:ext cx="520642" cy="149825"/>
          </a:xfrm>
          <a:custGeom>
            <a:avLst/>
            <a:gdLst>
              <a:gd name="T0" fmla="*/ 557 w 557"/>
              <a:gd name="T1" fmla="*/ 0 h 160"/>
              <a:gd name="T2" fmla="*/ 0 w 557"/>
              <a:gd name="T3" fmla="*/ 160 h 160"/>
              <a:gd name="T4" fmla="*/ 17 w 557"/>
              <a:gd name="T5" fmla="*/ 148 h 160"/>
              <a:gd name="T6" fmla="*/ 36 w 557"/>
              <a:gd name="T7" fmla="*/ 136 h 160"/>
              <a:gd name="T8" fmla="*/ 58 w 557"/>
              <a:gd name="T9" fmla="*/ 125 h 160"/>
              <a:gd name="T10" fmla="*/ 80 w 557"/>
              <a:gd name="T11" fmla="*/ 113 h 160"/>
              <a:gd name="T12" fmla="*/ 105 w 557"/>
              <a:gd name="T13" fmla="*/ 100 h 160"/>
              <a:gd name="T14" fmla="*/ 132 w 557"/>
              <a:gd name="T15" fmla="*/ 87 h 160"/>
              <a:gd name="T16" fmla="*/ 161 w 557"/>
              <a:gd name="T17" fmla="*/ 73 h 160"/>
              <a:gd name="T18" fmla="*/ 191 w 557"/>
              <a:gd name="T19" fmla="*/ 58 h 160"/>
              <a:gd name="T20" fmla="*/ 204 w 557"/>
              <a:gd name="T21" fmla="*/ 51 h 160"/>
              <a:gd name="T22" fmla="*/ 219 w 557"/>
              <a:gd name="T23" fmla="*/ 46 h 160"/>
              <a:gd name="T24" fmla="*/ 235 w 557"/>
              <a:gd name="T25" fmla="*/ 41 h 160"/>
              <a:gd name="T26" fmla="*/ 253 w 557"/>
              <a:gd name="T27" fmla="*/ 36 h 160"/>
              <a:gd name="T28" fmla="*/ 273 w 557"/>
              <a:gd name="T29" fmla="*/ 31 h 160"/>
              <a:gd name="T30" fmla="*/ 293 w 557"/>
              <a:gd name="T31" fmla="*/ 27 h 160"/>
              <a:gd name="T32" fmla="*/ 316 w 557"/>
              <a:gd name="T33" fmla="*/ 22 h 160"/>
              <a:gd name="T34" fmla="*/ 338 w 557"/>
              <a:gd name="T35" fmla="*/ 19 h 160"/>
              <a:gd name="T36" fmla="*/ 389 w 557"/>
              <a:gd name="T37" fmla="*/ 12 h 160"/>
              <a:gd name="T38" fmla="*/ 443 w 557"/>
              <a:gd name="T39" fmla="*/ 6 h 160"/>
              <a:gd name="T40" fmla="*/ 499 w 557"/>
              <a:gd name="T41" fmla="*/ 3 h 160"/>
              <a:gd name="T42" fmla="*/ 557 w 557"/>
              <a:gd name="T43" fmla="*/ 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57" h="160">
                <a:moveTo>
                  <a:pt x="557" y="0"/>
                </a:moveTo>
                <a:lnTo>
                  <a:pt x="0" y="160"/>
                </a:lnTo>
                <a:lnTo>
                  <a:pt x="17" y="148"/>
                </a:lnTo>
                <a:lnTo>
                  <a:pt x="36" y="136"/>
                </a:lnTo>
                <a:lnTo>
                  <a:pt x="58" y="125"/>
                </a:lnTo>
                <a:lnTo>
                  <a:pt x="80" y="113"/>
                </a:lnTo>
                <a:lnTo>
                  <a:pt x="105" y="100"/>
                </a:lnTo>
                <a:lnTo>
                  <a:pt x="132" y="87"/>
                </a:lnTo>
                <a:lnTo>
                  <a:pt x="161" y="73"/>
                </a:lnTo>
                <a:lnTo>
                  <a:pt x="191" y="58"/>
                </a:lnTo>
                <a:lnTo>
                  <a:pt x="204" y="51"/>
                </a:lnTo>
                <a:lnTo>
                  <a:pt x="219" y="46"/>
                </a:lnTo>
                <a:lnTo>
                  <a:pt x="235" y="41"/>
                </a:lnTo>
                <a:lnTo>
                  <a:pt x="253" y="36"/>
                </a:lnTo>
                <a:lnTo>
                  <a:pt x="273" y="31"/>
                </a:lnTo>
                <a:lnTo>
                  <a:pt x="293" y="27"/>
                </a:lnTo>
                <a:lnTo>
                  <a:pt x="316" y="22"/>
                </a:lnTo>
                <a:lnTo>
                  <a:pt x="338" y="19"/>
                </a:lnTo>
                <a:lnTo>
                  <a:pt x="389" y="12"/>
                </a:lnTo>
                <a:lnTo>
                  <a:pt x="443" y="6"/>
                </a:lnTo>
                <a:lnTo>
                  <a:pt x="499" y="3"/>
                </a:lnTo>
                <a:lnTo>
                  <a:pt x="557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Freeform 8"/>
          <p:cNvSpPr>
            <a:spLocks/>
          </p:cNvSpPr>
          <p:nvPr/>
        </p:nvSpPr>
        <p:spPr bwMode="auto">
          <a:xfrm>
            <a:off x="6194371" y="3620534"/>
            <a:ext cx="771598" cy="224737"/>
          </a:xfrm>
          <a:custGeom>
            <a:avLst/>
            <a:gdLst>
              <a:gd name="T0" fmla="*/ 824 w 824"/>
              <a:gd name="T1" fmla="*/ 3 h 239"/>
              <a:gd name="T2" fmla="*/ 0 w 824"/>
              <a:gd name="T3" fmla="*/ 239 h 239"/>
              <a:gd name="T4" fmla="*/ 9 w 824"/>
              <a:gd name="T5" fmla="*/ 225 h 239"/>
              <a:gd name="T6" fmla="*/ 20 w 824"/>
              <a:gd name="T7" fmla="*/ 211 h 239"/>
              <a:gd name="T8" fmla="*/ 31 w 824"/>
              <a:gd name="T9" fmla="*/ 199 h 239"/>
              <a:gd name="T10" fmla="*/ 42 w 824"/>
              <a:gd name="T11" fmla="*/ 187 h 239"/>
              <a:gd name="T12" fmla="*/ 54 w 824"/>
              <a:gd name="T13" fmla="*/ 176 h 239"/>
              <a:gd name="T14" fmla="*/ 68 w 824"/>
              <a:gd name="T15" fmla="*/ 165 h 239"/>
              <a:gd name="T16" fmla="*/ 82 w 824"/>
              <a:gd name="T17" fmla="*/ 155 h 239"/>
              <a:gd name="T18" fmla="*/ 98 w 824"/>
              <a:gd name="T19" fmla="*/ 145 h 239"/>
              <a:gd name="T20" fmla="*/ 132 w 824"/>
              <a:gd name="T21" fmla="*/ 126 h 239"/>
              <a:gd name="T22" fmla="*/ 171 w 824"/>
              <a:gd name="T23" fmla="*/ 105 h 239"/>
              <a:gd name="T24" fmla="*/ 216 w 824"/>
              <a:gd name="T25" fmla="*/ 84 h 239"/>
              <a:gd name="T26" fmla="*/ 266 w 824"/>
              <a:gd name="T27" fmla="*/ 59 h 239"/>
              <a:gd name="T28" fmla="*/ 285 w 824"/>
              <a:gd name="T29" fmla="*/ 50 h 239"/>
              <a:gd name="T30" fmla="*/ 307 w 824"/>
              <a:gd name="T31" fmla="*/ 43 h 239"/>
              <a:gd name="T32" fmla="*/ 332 w 824"/>
              <a:gd name="T33" fmla="*/ 36 h 239"/>
              <a:gd name="T34" fmla="*/ 360 w 824"/>
              <a:gd name="T35" fmla="*/ 30 h 239"/>
              <a:gd name="T36" fmla="*/ 390 w 824"/>
              <a:gd name="T37" fmla="*/ 23 h 239"/>
              <a:gd name="T38" fmla="*/ 423 w 824"/>
              <a:gd name="T39" fmla="*/ 18 h 239"/>
              <a:gd name="T40" fmla="*/ 458 w 824"/>
              <a:gd name="T41" fmla="*/ 14 h 239"/>
              <a:gd name="T42" fmla="*/ 495 w 824"/>
              <a:gd name="T43" fmla="*/ 9 h 239"/>
              <a:gd name="T44" fmla="*/ 533 w 824"/>
              <a:gd name="T45" fmla="*/ 6 h 239"/>
              <a:gd name="T46" fmla="*/ 573 w 824"/>
              <a:gd name="T47" fmla="*/ 4 h 239"/>
              <a:gd name="T48" fmla="*/ 613 w 824"/>
              <a:gd name="T49" fmla="*/ 2 h 239"/>
              <a:gd name="T50" fmla="*/ 654 w 824"/>
              <a:gd name="T51" fmla="*/ 1 h 239"/>
              <a:gd name="T52" fmla="*/ 697 w 824"/>
              <a:gd name="T53" fmla="*/ 0 h 239"/>
              <a:gd name="T54" fmla="*/ 739 w 824"/>
              <a:gd name="T55" fmla="*/ 1 h 239"/>
              <a:gd name="T56" fmla="*/ 782 w 824"/>
              <a:gd name="T57" fmla="*/ 2 h 239"/>
              <a:gd name="T58" fmla="*/ 824 w 824"/>
              <a:gd name="T59" fmla="*/ 3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24" h="239">
                <a:moveTo>
                  <a:pt x="824" y="3"/>
                </a:moveTo>
                <a:lnTo>
                  <a:pt x="0" y="239"/>
                </a:lnTo>
                <a:lnTo>
                  <a:pt x="9" y="225"/>
                </a:lnTo>
                <a:lnTo>
                  <a:pt x="20" y="211"/>
                </a:lnTo>
                <a:lnTo>
                  <a:pt x="31" y="199"/>
                </a:lnTo>
                <a:lnTo>
                  <a:pt x="42" y="187"/>
                </a:lnTo>
                <a:lnTo>
                  <a:pt x="54" y="176"/>
                </a:lnTo>
                <a:lnTo>
                  <a:pt x="68" y="165"/>
                </a:lnTo>
                <a:lnTo>
                  <a:pt x="82" y="155"/>
                </a:lnTo>
                <a:lnTo>
                  <a:pt x="98" y="145"/>
                </a:lnTo>
                <a:lnTo>
                  <a:pt x="132" y="126"/>
                </a:lnTo>
                <a:lnTo>
                  <a:pt x="171" y="105"/>
                </a:lnTo>
                <a:lnTo>
                  <a:pt x="216" y="84"/>
                </a:lnTo>
                <a:lnTo>
                  <a:pt x="266" y="59"/>
                </a:lnTo>
                <a:lnTo>
                  <a:pt x="285" y="50"/>
                </a:lnTo>
                <a:lnTo>
                  <a:pt x="307" y="43"/>
                </a:lnTo>
                <a:lnTo>
                  <a:pt x="332" y="36"/>
                </a:lnTo>
                <a:lnTo>
                  <a:pt x="360" y="30"/>
                </a:lnTo>
                <a:lnTo>
                  <a:pt x="390" y="23"/>
                </a:lnTo>
                <a:lnTo>
                  <a:pt x="423" y="18"/>
                </a:lnTo>
                <a:lnTo>
                  <a:pt x="458" y="14"/>
                </a:lnTo>
                <a:lnTo>
                  <a:pt x="495" y="9"/>
                </a:lnTo>
                <a:lnTo>
                  <a:pt x="533" y="6"/>
                </a:lnTo>
                <a:lnTo>
                  <a:pt x="573" y="4"/>
                </a:lnTo>
                <a:lnTo>
                  <a:pt x="613" y="2"/>
                </a:lnTo>
                <a:lnTo>
                  <a:pt x="654" y="1"/>
                </a:lnTo>
                <a:lnTo>
                  <a:pt x="697" y="0"/>
                </a:lnTo>
                <a:lnTo>
                  <a:pt x="739" y="1"/>
                </a:lnTo>
                <a:lnTo>
                  <a:pt x="782" y="2"/>
                </a:lnTo>
                <a:lnTo>
                  <a:pt x="824" y="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Freeform 9"/>
          <p:cNvSpPr>
            <a:spLocks/>
          </p:cNvSpPr>
          <p:nvPr/>
        </p:nvSpPr>
        <p:spPr bwMode="auto">
          <a:xfrm>
            <a:off x="6168153" y="3620534"/>
            <a:ext cx="936405" cy="288414"/>
          </a:xfrm>
          <a:custGeom>
            <a:avLst/>
            <a:gdLst>
              <a:gd name="T0" fmla="*/ 105 w 1004"/>
              <a:gd name="T1" fmla="*/ 161 h 304"/>
              <a:gd name="T2" fmla="*/ 662 w 1004"/>
              <a:gd name="T3" fmla="*/ 1 h 304"/>
              <a:gd name="T4" fmla="*/ 705 w 1004"/>
              <a:gd name="T5" fmla="*/ 1 h 304"/>
              <a:gd name="T6" fmla="*/ 749 w 1004"/>
              <a:gd name="T7" fmla="*/ 0 h 304"/>
              <a:gd name="T8" fmla="*/ 792 w 1004"/>
              <a:gd name="T9" fmla="*/ 1 h 304"/>
              <a:gd name="T10" fmla="*/ 836 w 1004"/>
              <a:gd name="T11" fmla="*/ 3 h 304"/>
              <a:gd name="T12" fmla="*/ 879 w 1004"/>
              <a:gd name="T13" fmla="*/ 5 h 304"/>
              <a:gd name="T14" fmla="*/ 922 w 1004"/>
              <a:gd name="T15" fmla="*/ 8 h 304"/>
              <a:gd name="T16" fmla="*/ 963 w 1004"/>
              <a:gd name="T17" fmla="*/ 13 h 304"/>
              <a:gd name="T18" fmla="*/ 1004 w 1004"/>
              <a:gd name="T19" fmla="*/ 18 h 304"/>
              <a:gd name="T20" fmla="*/ 0 w 1004"/>
              <a:gd name="T21" fmla="*/ 304 h 304"/>
              <a:gd name="T22" fmla="*/ 10 w 1004"/>
              <a:gd name="T23" fmla="*/ 279 h 304"/>
              <a:gd name="T24" fmla="*/ 20 w 1004"/>
              <a:gd name="T25" fmla="*/ 258 h 304"/>
              <a:gd name="T26" fmla="*/ 32 w 1004"/>
              <a:gd name="T27" fmla="*/ 237 h 304"/>
              <a:gd name="T28" fmla="*/ 43 w 1004"/>
              <a:gd name="T29" fmla="*/ 219 h 304"/>
              <a:gd name="T30" fmla="*/ 56 w 1004"/>
              <a:gd name="T31" fmla="*/ 203 h 304"/>
              <a:gd name="T32" fmla="*/ 71 w 1004"/>
              <a:gd name="T33" fmla="*/ 188 h 304"/>
              <a:gd name="T34" fmla="*/ 87 w 1004"/>
              <a:gd name="T35" fmla="*/ 174 h 304"/>
              <a:gd name="T36" fmla="*/ 105 w 1004"/>
              <a:gd name="T37" fmla="*/ 161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004" h="304">
                <a:moveTo>
                  <a:pt x="105" y="161"/>
                </a:moveTo>
                <a:lnTo>
                  <a:pt x="662" y="1"/>
                </a:lnTo>
                <a:lnTo>
                  <a:pt x="705" y="1"/>
                </a:lnTo>
                <a:lnTo>
                  <a:pt x="749" y="0"/>
                </a:lnTo>
                <a:lnTo>
                  <a:pt x="792" y="1"/>
                </a:lnTo>
                <a:lnTo>
                  <a:pt x="836" y="3"/>
                </a:lnTo>
                <a:lnTo>
                  <a:pt x="879" y="5"/>
                </a:lnTo>
                <a:lnTo>
                  <a:pt x="922" y="8"/>
                </a:lnTo>
                <a:lnTo>
                  <a:pt x="963" y="13"/>
                </a:lnTo>
                <a:lnTo>
                  <a:pt x="1004" y="18"/>
                </a:lnTo>
                <a:lnTo>
                  <a:pt x="0" y="304"/>
                </a:lnTo>
                <a:lnTo>
                  <a:pt x="10" y="279"/>
                </a:lnTo>
                <a:lnTo>
                  <a:pt x="20" y="258"/>
                </a:lnTo>
                <a:lnTo>
                  <a:pt x="32" y="237"/>
                </a:lnTo>
                <a:lnTo>
                  <a:pt x="43" y="219"/>
                </a:lnTo>
                <a:lnTo>
                  <a:pt x="56" y="203"/>
                </a:lnTo>
                <a:lnTo>
                  <a:pt x="71" y="188"/>
                </a:lnTo>
                <a:lnTo>
                  <a:pt x="87" y="174"/>
                </a:lnTo>
                <a:lnTo>
                  <a:pt x="105" y="1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Freeform 10"/>
          <p:cNvSpPr>
            <a:spLocks/>
          </p:cNvSpPr>
          <p:nvPr/>
        </p:nvSpPr>
        <p:spPr bwMode="auto">
          <a:xfrm>
            <a:off x="6149424" y="3624281"/>
            <a:ext cx="1067503" cy="340853"/>
          </a:xfrm>
          <a:custGeom>
            <a:avLst/>
            <a:gdLst>
              <a:gd name="T0" fmla="*/ 48 w 1140"/>
              <a:gd name="T1" fmla="*/ 236 h 364"/>
              <a:gd name="T2" fmla="*/ 872 w 1140"/>
              <a:gd name="T3" fmla="*/ 0 h 364"/>
              <a:gd name="T4" fmla="*/ 909 w 1140"/>
              <a:gd name="T5" fmla="*/ 3 h 364"/>
              <a:gd name="T6" fmla="*/ 944 w 1140"/>
              <a:gd name="T7" fmla="*/ 5 h 364"/>
              <a:gd name="T8" fmla="*/ 980 w 1140"/>
              <a:gd name="T9" fmla="*/ 10 h 364"/>
              <a:gd name="T10" fmla="*/ 1014 w 1140"/>
              <a:gd name="T11" fmla="*/ 14 h 364"/>
              <a:gd name="T12" fmla="*/ 1048 w 1140"/>
              <a:gd name="T13" fmla="*/ 19 h 364"/>
              <a:gd name="T14" fmla="*/ 1080 w 1140"/>
              <a:gd name="T15" fmla="*/ 25 h 364"/>
              <a:gd name="T16" fmla="*/ 1111 w 1140"/>
              <a:gd name="T17" fmla="*/ 31 h 364"/>
              <a:gd name="T18" fmla="*/ 1140 w 1140"/>
              <a:gd name="T19" fmla="*/ 38 h 364"/>
              <a:gd name="T20" fmla="*/ 0 w 1140"/>
              <a:gd name="T21" fmla="*/ 364 h 364"/>
              <a:gd name="T22" fmla="*/ 3 w 1140"/>
              <a:gd name="T23" fmla="*/ 353 h 364"/>
              <a:gd name="T24" fmla="*/ 6 w 1140"/>
              <a:gd name="T25" fmla="*/ 341 h 364"/>
              <a:gd name="T26" fmla="*/ 15 w 1140"/>
              <a:gd name="T27" fmla="*/ 311 h 364"/>
              <a:gd name="T28" fmla="*/ 26 w 1140"/>
              <a:gd name="T29" fmla="*/ 283 h 364"/>
              <a:gd name="T30" fmla="*/ 37 w 1140"/>
              <a:gd name="T31" fmla="*/ 258 h 364"/>
              <a:gd name="T32" fmla="*/ 48 w 1140"/>
              <a:gd name="T33" fmla="*/ 23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40" h="364">
                <a:moveTo>
                  <a:pt x="48" y="236"/>
                </a:moveTo>
                <a:lnTo>
                  <a:pt x="872" y="0"/>
                </a:lnTo>
                <a:lnTo>
                  <a:pt x="909" y="3"/>
                </a:lnTo>
                <a:lnTo>
                  <a:pt x="944" y="5"/>
                </a:lnTo>
                <a:lnTo>
                  <a:pt x="980" y="10"/>
                </a:lnTo>
                <a:lnTo>
                  <a:pt x="1014" y="14"/>
                </a:lnTo>
                <a:lnTo>
                  <a:pt x="1048" y="19"/>
                </a:lnTo>
                <a:lnTo>
                  <a:pt x="1080" y="25"/>
                </a:lnTo>
                <a:lnTo>
                  <a:pt x="1111" y="31"/>
                </a:lnTo>
                <a:lnTo>
                  <a:pt x="1140" y="38"/>
                </a:lnTo>
                <a:lnTo>
                  <a:pt x="0" y="364"/>
                </a:lnTo>
                <a:lnTo>
                  <a:pt x="3" y="353"/>
                </a:lnTo>
                <a:lnTo>
                  <a:pt x="6" y="341"/>
                </a:lnTo>
                <a:lnTo>
                  <a:pt x="15" y="311"/>
                </a:lnTo>
                <a:lnTo>
                  <a:pt x="26" y="283"/>
                </a:lnTo>
                <a:lnTo>
                  <a:pt x="37" y="258"/>
                </a:lnTo>
                <a:lnTo>
                  <a:pt x="48" y="2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Freeform 11"/>
          <p:cNvSpPr>
            <a:spLocks/>
          </p:cNvSpPr>
          <p:nvPr/>
        </p:nvSpPr>
        <p:spPr bwMode="auto">
          <a:xfrm>
            <a:off x="6138188" y="3639263"/>
            <a:ext cx="1164889" cy="382053"/>
          </a:xfrm>
          <a:custGeom>
            <a:avLst/>
            <a:gdLst>
              <a:gd name="T0" fmla="*/ 30 w 1242"/>
              <a:gd name="T1" fmla="*/ 286 h 410"/>
              <a:gd name="T2" fmla="*/ 1034 w 1242"/>
              <a:gd name="T3" fmla="*/ 0 h 410"/>
              <a:gd name="T4" fmla="*/ 1064 w 1242"/>
              <a:gd name="T5" fmla="*/ 4 h 410"/>
              <a:gd name="T6" fmla="*/ 1094 w 1242"/>
              <a:gd name="T7" fmla="*/ 10 h 410"/>
              <a:gd name="T8" fmla="*/ 1122 w 1242"/>
              <a:gd name="T9" fmla="*/ 16 h 410"/>
              <a:gd name="T10" fmla="*/ 1149 w 1242"/>
              <a:gd name="T11" fmla="*/ 23 h 410"/>
              <a:gd name="T12" fmla="*/ 1175 w 1242"/>
              <a:gd name="T13" fmla="*/ 29 h 410"/>
              <a:gd name="T14" fmla="*/ 1199 w 1242"/>
              <a:gd name="T15" fmla="*/ 38 h 410"/>
              <a:gd name="T16" fmla="*/ 1221 w 1242"/>
              <a:gd name="T17" fmla="*/ 45 h 410"/>
              <a:gd name="T18" fmla="*/ 1242 w 1242"/>
              <a:gd name="T19" fmla="*/ 55 h 410"/>
              <a:gd name="T20" fmla="*/ 0 w 1242"/>
              <a:gd name="T21" fmla="*/ 410 h 410"/>
              <a:gd name="T22" fmla="*/ 4 w 1242"/>
              <a:gd name="T23" fmla="*/ 388 h 410"/>
              <a:gd name="T24" fmla="*/ 8 w 1242"/>
              <a:gd name="T25" fmla="*/ 368 h 410"/>
              <a:gd name="T26" fmla="*/ 13 w 1242"/>
              <a:gd name="T27" fmla="*/ 346 h 410"/>
              <a:gd name="T28" fmla="*/ 18 w 1242"/>
              <a:gd name="T29" fmla="*/ 326 h 410"/>
              <a:gd name="T30" fmla="*/ 21 w 1242"/>
              <a:gd name="T31" fmla="*/ 316 h 410"/>
              <a:gd name="T32" fmla="*/ 24 w 1242"/>
              <a:gd name="T33" fmla="*/ 305 h 410"/>
              <a:gd name="T34" fmla="*/ 27 w 1242"/>
              <a:gd name="T35" fmla="*/ 296 h 410"/>
              <a:gd name="T36" fmla="*/ 30 w 1242"/>
              <a:gd name="T37" fmla="*/ 286 h 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42" h="410">
                <a:moveTo>
                  <a:pt x="30" y="286"/>
                </a:moveTo>
                <a:lnTo>
                  <a:pt x="1034" y="0"/>
                </a:lnTo>
                <a:lnTo>
                  <a:pt x="1064" y="4"/>
                </a:lnTo>
                <a:lnTo>
                  <a:pt x="1094" y="10"/>
                </a:lnTo>
                <a:lnTo>
                  <a:pt x="1122" y="16"/>
                </a:lnTo>
                <a:lnTo>
                  <a:pt x="1149" y="23"/>
                </a:lnTo>
                <a:lnTo>
                  <a:pt x="1175" y="29"/>
                </a:lnTo>
                <a:lnTo>
                  <a:pt x="1199" y="38"/>
                </a:lnTo>
                <a:lnTo>
                  <a:pt x="1221" y="45"/>
                </a:lnTo>
                <a:lnTo>
                  <a:pt x="1242" y="55"/>
                </a:lnTo>
                <a:lnTo>
                  <a:pt x="0" y="410"/>
                </a:lnTo>
                <a:lnTo>
                  <a:pt x="4" y="388"/>
                </a:lnTo>
                <a:lnTo>
                  <a:pt x="8" y="368"/>
                </a:lnTo>
                <a:lnTo>
                  <a:pt x="13" y="346"/>
                </a:lnTo>
                <a:lnTo>
                  <a:pt x="18" y="326"/>
                </a:lnTo>
                <a:lnTo>
                  <a:pt x="21" y="316"/>
                </a:lnTo>
                <a:lnTo>
                  <a:pt x="24" y="305"/>
                </a:lnTo>
                <a:lnTo>
                  <a:pt x="27" y="296"/>
                </a:lnTo>
                <a:lnTo>
                  <a:pt x="30" y="28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Freeform 12"/>
          <p:cNvSpPr>
            <a:spLocks/>
          </p:cNvSpPr>
          <p:nvPr/>
        </p:nvSpPr>
        <p:spPr bwMode="auto">
          <a:xfrm>
            <a:off x="6130697" y="3661737"/>
            <a:ext cx="1224819" cy="415765"/>
          </a:xfrm>
          <a:custGeom>
            <a:avLst/>
            <a:gdLst>
              <a:gd name="T0" fmla="*/ 18 w 1308"/>
              <a:gd name="T1" fmla="*/ 326 h 446"/>
              <a:gd name="T2" fmla="*/ 1158 w 1308"/>
              <a:gd name="T3" fmla="*/ 0 h 446"/>
              <a:gd name="T4" fmla="*/ 1183 w 1308"/>
              <a:gd name="T5" fmla="*/ 7 h 446"/>
              <a:gd name="T6" fmla="*/ 1205 w 1308"/>
              <a:gd name="T7" fmla="*/ 15 h 446"/>
              <a:gd name="T8" fmla="*/ 1227 w 1308"/>
              <a:gd name="T9" fmla="*/ 22 h 446"/>
              <a:gd name="T10" fmla="*/ 1247 w 1308"/>
              <a:gd name="T11" fmla="*/ 31 h 446"/>
              <a:gd name="T12" fmla="*/ 1265 w 1308"/>
              <a:gd name="T13" fmla="*/ 41 h 446"/>
              <a:gd name="T14" fmla="*/ 1281 w 1308"/>
              <a:gd name="T15" fmla="*/ 50 h 446"/>
              <a:gd name="T16" fmla="*/ 1296 w 1308"/>
              <a:gd name="T17" fmla="*/ 61 h 446"/>
              <a:gd name="T18" fmla="*/ 1308 w 1308"/>
              <a:gd name="T19" fmla="*/ 72 h 446"/>
              <a:gd name="T20" fmla="*/ 0 w 1308"/>
              <a:gd name="T21" fmla="*/ 446 h 446"/>
              <a:gd name="T22" fmla="*/ 3 w 1308"/>
              <a:gd name="T23" fmla="*/ 415 h 446"/>
              <a:gd name="T24" fmla="*/ 7 w 1308"/>
              <a:gd name="T25" fmla="*/ 385 h 446"/>
              <a:gd name="T26" fmla="*/ 12 w 1308"/>
              <a:gd name="T27" fmla="*/ 355 h 446"/>
              <a:gd name="T28" fmla="*/ 18 w 1308"/>
              <a:gd name="T29" fmla="*/ 326 h 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08" h="446">
                <a:moveTo>
                  <a:pt x="18" y="326"/>
                </a:moveTo>
                <a:lnTo>
                  <a:pt x="1158" y="0"/>
                </a:lnTo>
                <a:lnTo>
                  <a:pt x="1183" y="7"/>
                </a:lnTo>
                <a:lnTo>
                  <a:pt x="1205" y="15"/>
                </a:lnTo>
                <a:lnTo>
                  <a:pt x="1227" y="22"/>
                </a:lnTo>
                <a:lnTo>
                  <a:pt x="1247" y="31"/>
                </a:lnTo>
                <a:lnTo>
                  <a:pt x="1265" y="41"/>
                </a:lnTo>
                <a:lnTo>
                  <a:pt x="1281" y="50"/>
                </a:lnTo>
                <a:lnTo>
                  <a:pt x="1296" y="61"/>
                </a:lnTo>
                <a:lnTo>
                  <a:pt x="1308" y="72"/>
                </a:lnTo>
                <a:lnTo>
                  <a:pt x="0" y="446"/>
                </a:lnTo>
                <a:lnTo>
                  <a:pt x="3" y="415"/>
                </a:lnTo>
                <a:lnTo>
                  <a:pt x="7" y="385"/>
                </a:lnTo>
                <a:lnTo>
                  <a:pt x="12" y="355"/>
                </a:lnTo>
                <a:lnTo>
                  <a:pt x="18" y="32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Freeform 13"/>
          <p:cNvSpPr>
            <a:spLocks/>
          </p:cNvSpPr>
          <p:nvPr/>
        </p:nvSpPr>
        <p:spPr bwMode="auto">
          <a:xfrm>
            <a:off x="6130697" y="3691702"/>
            <a:ext cx="1251037" cy="438239"/>
          </a:xfrm>
          <a:custGeom>
            <a:avLst/>
            <a:gdLst>
              <a:gd name="T0" fmla="*/ 9 w 1336"/>
              <a:gd name="T1" fmla="*/ 355 h 471"/>
              <a:gd name="T2" fmla="*/ 1251 w 1336"/>
              <a:gd name="T3" fmla="*/ 0 h 471"/>
              <a:gd name="T4" fmla="*/ 1265 w 1336"/>
              <a:gd name="T5" fmla="*/ 6 h 471"/>
              <a:gd name="T6" fmla="*/ 1278 w 1336"/>
              <a:gd name="T7" fmla="*/ 15 h 471"/>
              <a:gd name="T8" fmla="*/ 1290 w 1336"/>
              <a:gd name="T9" fmla="*/ 22 h 471"/>
              <a:gd name="T10" fmla="*/ 1301 w 1336"/>
              <a:gd name="T11" fmla="*/ 31 h 471"/>
              <a:gd name="T12" fmla="*/ 1311 w 1336"/>
              <a:gd name="T13" fmla="*/ 40 h 471"/>
              <a:gd name="T14" fmla="*/ 1319 w 1336"/>
              <a:gd name="T15" fmla="*/ 49 h 471"/>
              <a:gd name="T16" fmla="*/ 1326 w 1336"/>
              <a:gd name="T17" fmla="*/ 59 h 471"/>
              <a:gd name="T18" fmla="*/ 1331 w 1336"/>
              <a:gd name="T19" fmla="*/ 69 h 471"/>
              <a:gd name="T20" fmla="*/ 1333 w 1336"/>
              <a:gd name="T21" fmla="*/ 77 h 471"/>
              <a:gd name="T22" fmla="*/ 1336 w 1336"/>
              <a:gd name="T23" fmla="*/ 89 h 471"/>
              <a:gd name="T24" fmla="*/ 0 w 1336"/>
              <a:gd name="T25" fmla="*/ 471 h 471"/>
              <a:gd name="T26" fmla="*/ 1 w 1336"/>
              <a:gd name="T27" fmla="*/ 442 h 471"/>
              <a:gd name="T28" fmla="*/ 3 w 1336"/>
              <a:gd name="T29" fmla="*/ 413 h 471"/>
              <a:gd name="T30" fmla="*/ 6 w 1336"/>
              <a:gd name="T31" fmla="*/ 383 h 471"/>
              <a:gd name="T32" fmla="*/ 9 w 1336"/>
              <a:gd name="T33" fmla="*/ 355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36" h="471">
                <a:moveTo>
                  <a:pt x="9" y="355"/>
                </a:moveTo>
                <a:lnTo>
                  <a:pt x="1251" y="0"/>
                </a:lnTo>
                <a:lnTo>
                  <a:pt x="1265" y="6"/>
                </a:lnTo>
                <a:lnTo>
                  <a:pt x="1278" y="15"/>
                </a:lnTo>
                <a:lnTo>
                  <a:pt x="1290" y="22"/>
                </a:lnTo>
                <a:lnTo>
                  <a:pt x="1301" y="31"/>
                </a:lnTo>
                <a:lnTo>
                  <a:pt x="1311" y="40"/>
                </a:lnTo>
                <a:lnTo>
                  <a:pt x="1319" y="49"/>
                </a:lnTo>
                <a:lnTo>
                  <a:pt x="1326" y="59"/>
                </a:lnTo>
                <a:lnTo>
                  <a:pt x="1331" y="69"/>
                </a:lnTo>
                <a:lnTo>
                  <a:pt x="1333" y="77"/>
                </a:lnTo>
                <a:lnTo>
                  <a:pt x="1336" y="89"/>
                </a:lnTo>
                <a:lnTo>
                  <a:pt x="0" y="471"/>
                </a:lnTo>
                <a:lnTo>
                  <a:pt x="1" y="442"/>
                </a:lnTo>
                <a:lnTo>
                  <a:pt x="3" y="413"/>
                </a:lnTo>
                <a:lnTo>
                  <a:pt x="6" y="383"/>
                </a:lnTo>
                <a:lnTo>
                  <a:pt x="9" y="35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Freeform 14"/>
          <p:cNvSpPr>
            <a:spLocks/>
          </p:cNvSpPr>
          <p:nvPr/>
        </p:nvSpPr>
        <p:spPr bwMode="auto">
          <a:xfrm>
            <a:off x="6130697" y="3729158"/>
            <a:ext cx="1258529" cy="456966"/>
          </a:xfrm>
          <a:custGeom>
            <a:avLst/>
            <a:gdLst>
              <a:gd name="T0" fmla="*/ 3 w 1345"/>
              <a:gd name="T1" fmla="*/ 374 h 489"/>
              <a:gd name="T2" fmla="*/ 1311 w 1345"/>
              <a:gd name="T3" fmla="*/ 0 h 489"/>
              <a:gd name="T4" fmla="*/ 1317 w 1345"/>
              <a:gd name="T5" fmla="*/ 6 h 489"/>
              <a:gd name="T6" fmla="*/ 1322 w 1345"/>
              <a:gd name="T7" fmla="*/ 14 h 489"/>
              <a:gd name="T8" fmla="*/ 1327 w 1345"/>
              <a:gd name="T9" fmla="*/ 21 h 489"/>
              <a:gd name="T10" fmla="*/ 1331 w 1345"/>
              <a:gd name="T11" fmla="*/ 29 h 489"/>
              <a:gd name="T12" fmla="*/ 1334 w 1345"/>
              <a:gd name="T13" fmla="*/ 41 h 489"/>
              <a:gd name="T14" fmla="*/ 1337 w 1345"/>
              <a:gd name="T15" fmla="*/ 58 h 489"/>
              <a:gd name="T16" fmla="*/ 1341 w 1345"/>
              <a:gd name="T17" fmla="*/ 79 h 489"/>
              <a:gd name="T18" fmla="*/ 1345 w 1345"/>
              <a:gd name="T19" fmla="*/ 104 h 489"/>
              <a:gd name="T20" fmla="*/ 0 w 1345"/>
              <a:gd name="T21" fmla="*/ 489 h 489"/>
              <a:gd name="T22" fmla="*/ 0 w 1345"/>
              <a:gd name="T23" fmla="*/ 460 h 489"/>
              <a:gd name="T24" fmla="*/ 0 w 1345"/>
              <a:gd name="T25" fmla="*/ 431 h 489"/>
              <a:gd name="T26" fmla="*/ 1 w 1345"/>
              <a:gd name="T27" fmla="*/ 402 h 489"/>
              <a:gd name="T28" fmla="*/ 3 w 1345"/>
              <a:gd name="T29" fmla="*/ 374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45" h="489">
                <a:moveTo>
                  <a:pt x="3" y="374"/>
                </a:moveTo>
                <a:lnTo>
                  <a:pt x="1311" y="0"/>
                </a:lnTo>
                <a:lnTo>
                  <a:pt x="1317" y="6"/>
                </a:lnTo>
                <a:lnTo>
                  <a:pt x="1322" y="14"/>
                </a:lnTo>
                <a:lnTo>
                  <a:pt x="1327" y="21"/>
                </a:lnTo>
                <a:lnTo>
                  <a:pt x="1331" y="29"/>
                </a:lnTo>
                <a:lnTo>
                  <a:pt x="1334" y="41"/>
                </a:lnTo>
                <a:lnTo>
                  <a:pt x="1337" y="58"/>
                </a:lnTo>
                <a:lnTo>
                  <a:pt x="1341" y="79"/>
                </a:lnTo>
                <a:lnTo>
                  <a:pt x="1345" y="104"/>
                </a:lnTo>
                <a:lnTo>
                  <a:pt x="0" y="489"/>
                </a:lnTo>
                <a:lnTo>
                  <a:pt x="0" y="460"/>
                </a:lnTo>
                <a:lnTo>
                  <a:pt x="0" y="431"/>
                </a:lnTo>
                <a:lnTo>
                  <a:pt x="1" y="402"/>
                </a:lnTo>
                <a:lnTo>
                  <a:pt x="3" y="37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15"/>
          <p:cNvSpPr>
            <a:spLocks/>
          </p:cNvSpPr>
          <p:nvPr/>
        </p:nvSpPr>
        <p:spPr bwMode="auto">
          <a:xfrm>
            <a:off x="6130697" y="3774106"/>
            <a:ext cx="1266020" cy="464457"/>
          </a:xfrm>
          <a:custGeom>
            <a:avLst/>
            <a:gdLst>
              <a:gd name="T0" fmla="*/ 0 w 1351"/>
              <a:gd name="T1" fmla="*/ 382 h 496"/>
              <a:gd name="T2" fmla="*/ 1336 w 1351"/>
              <a:gd name="T3" fmla="*/ 0 h 496"/>
              <a:gd name="T4" fmla="*/ 1340 w 1351"/>
              <a:gd name="T5" fmla="*/ 23 h 496"/>
              <a:gd name="T6" fmla="*/ 1344 w 1351"/>
              <a:gd name="T7" fmla="*/ 49 h 496"/>
              <a:gd name="T8" fmla="*/ 1348 w 1351"/>
              <a:gd name="T9" fmla="*/ 79 h 496"/>
              <a:gd name="T10" fmla="*/ 1351 w 1351"/>
              <a:gd name="T11" fmla="*/ 110 h 496"/>
              <a:gd name="T12" fmla="*/ 3 w 1351"/>
              <a:gd name="T13" fmla="*/ 496 h 496"/>
              <a:gd name="T14" fmla="*/ 1 w 1351"/>
              <a:gd name="T15" fmla="*/ 468 h 496"/>
              <a:gd name="T16" fmla="*/ 0 w 1351"/>
              <a:gd name="T17" fmla="*/ 439 h 496"/>
              <a:gd name="T18" fmla="*/ 0 w 1351"/>
              <a:gd name="T19" fmla="*/ 411 h 496"/>
              <a:gd name="T20" fmla="*/ 0 w 1351"/>
              <a:gd name="T21" fmla="*/ 382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51" h="496">
                <a:moveTo>
                  <a:pt x="0" y="382"/>
                </a:moveTo>
                <a:lnTo>
                  <a:pt x="1336" y="0"/>
                </a:lnTo>
                <a:lnTo>
                  <a:pt x="1340" y="23"/>
                </a:lnTo>
                <a:lnTo>
                  <a:pt x="1344" y="49"/>
                </a:lnTo>
                <a:lnTo>
                  <a:pt x="1348" y="79"/>
                </a:lnTo>
                <a:lnTo>
                  <a:pt x="1351" y="110"/>
                </a:lnTo>
                <a:lnTo>
                  <a:pt x="3" y="496"/>
                </a:lnTo>
                <a:lnTo>
                  <a:pt x="1" y="468"/>
                </a:lnTo>
                <a:lnTo>
                  <a:pt x="0" y="439"/>
                </a:lnTo>
                <a:lnTo>
                  <a:pt x="0" y="411"/>
                </a:lnTo>
                <a:lnTo>
                  <a:pt x="0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Freeform 16"/>
          <p:cNvSpPr>
            <a:spLocks/>
          </p:cNvSpPr>
          <p:nvPr/>
        </p:nvSpPr>
        <p:spPr bwMode="auto">
          <a:xfrm>
            <a:off x="6130697" y="3826544"/>
            <a:ext cx="1269767" cy="464457"/>
          </a:xfrm>
          <a:custGeom>
            <a:avLst/>
            <a:gdLst>
              <a:gd name="T0" fmla="*/ 0 w 1359"/>
              <a:gd name="T1" fmla="*/ 385 h 497"/>
              <a:gd name="T2" fmla="*/ 1345 w 1359"/>
              <a:gd name="T3" fmla="*/ 0 h 497"/>
              <a:gd name="T4" fmla="*/ 1348 w 1359"/>
              <a:gd name="T5" fmla="*/ 27 h 497"/>
              <a:gd name="T6" fmla="*/ 1351 w 1359"/>
              <a:gd name="T7" fmla="*/ 54 h 497"/>
              <a:gd name="T8" fmla="*/ 1356 w 1359"/>
              <a:gd name="T9" fmla="*/ 83 h 497"/>
              <a:gd name="T10" fmla="*/ 1359 w 1359"/>
              <a:gd name="T11" fmla="*/ 111 h 497"/>
              <a:gd name="T12" fmla="*/ 8 w 1359"/>
              <a:gd name="T13" fmla="*/ 497 h 497"/>
              <a:gd name="T14" fmla="*/ 5 w 1359"/>
              <a:gd name="T15" fmla="*/ 469 h 497"/>
              <a:gd name="T16" fmla="*/ 3 w 1359"/>
              <a:gd name="T17" fmla="*/ 441 h 497"/>
              <a:gd name="T18" fmla="*/ 1 w 1359"/>
              <a:gd name="T19" fmla="*/ 413 h 497"/>
              <a:gd name="T20" fmla="*/ 0 w 1359"/>
              <a:gd name="T21" fmla="*/ 385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59" h="497">
                <a:moveTo>
                  <a:pt x="0" y="385"/>
                </a:moveTo>
                <a:lnTo>
                  <a:pt x="1345" y="0"/>
                </a:lnTo>
                <a:lnTo>
                  <a:pt x="1348" y="27"/>
                </a:lnTo>
                <a:lnTo>
                  <a:pt x="1351" y="54"/>
                </a:lnTo>
                <a:lnTo>
                  <a:pt x="1356" y="83"/>
                </a:lnTo>
                <a:lnTo>
                  <a:pt x="1359" y="111"/>
                </a:lnTo>
                <a:lnTo>
                  <a:pt x="8" y="497"/>
                </a:lnTo>
                <a:lnTo>
                  <a:pt x="5" y="469"/>
                </a:lnTo>
                <a:lnTo>
                  <a:pt x="3" y="441"/>
                </a:lnTo>
                <a:lnTo>
                  <a:pt x="1" y="413"/>
                </a:lnTo>
                <a:lnTo>
                  <a:pt x="0" y="38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17"/>
          <p:cNvSpPr>
            <a:spLocks/>
          </p:cNvSpPr>
          <p:nvPr/>
        </p:nvSpPr>
        <p:spPr bwMode="auto">
          <a:xfrm>
            <a:off x="6130697" y="3875236"/>
            <a:ext cx="1281002" cy="468204"/>
          </a:xfrm>
          <a:custGeom>
            <a:avLst/>
            <a:gdLst>
              <a:gd name="T0" fmla="*/ 0 w 1365"/>
              <a:gd name="T1" fmla="*/ 386 h 497"/>
              <a:gd name="T2" fmla="*/ 1348 w 1365"/>
              <a:gd name="T3" fmla="*/ 0 h 497"/>
              <a:gd name="T4" fmla="*/ 1353 w 1365"/>
              <a:gd name="T5" fmla="*/ 29 h 497"/>
              <a:gd name="T6" fmla="*/ 1356 w 1365"/>
              <a:gd name="T7" fmla="*/ 57 h 497"/>
              <a:gd name="T8" fmla="*/ 1360 w 1365"/>
              <a:gd name="T9" fmla="*/ 85 h 497"/>
              <a:gd name="T10" fmla="*/ 1365 w 1365"/>
              <a:gd name="T11" fmla="*/ 110 h 497"/>
              <a:gd name="T12" fmla="*/ 13 w 1365"/>
              <a:gd name="T13" fmla="*/ 497 h 497"/>
              <a:gd name="T14" fmla="*/ 8 w 1365"/>
              <a:gd name="T15" fmla="*/ 469 h 497"/>
              <a:gd name="T16" fmla="*/ 5 w 1365"/>
              <a:gd name="T17" fmla="*/ 442 h 497"/>
              <a:gd name="T18" fmla="*/ 2 w 1365"/>
              <a:gd name="T19" fmla="*/ 414 h 497"/>
              <a:gd name="T20" fmla="*/ 0 w 1365"/>
              <a:gd name="T21" fmla="*/ 386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65" h="497">
                <a:moveTo>
                  <a:pt x="0" y="386"/>
                </a:moveTo>
                <a:lnTo>
                  <a:pt x="1348" y="0"/>
                </a:lnTo>
                <a:lnTo>
                  <a:pt x="1353" y="29"/>
                </a:lnTo>
                <a:lnTo>
                  <a:pt x="1356" y="57"/>
                </a:lnTo>
                <a:lnTo>
                  <a:pt x="1360" y="85"/>
                </a:lnTo>
                <a:lnTo>
                  <a:pt x="1365" y="110"/>
                </a:lnTo>
                <a:lnTo>
                  <a:pt x="13" y="497"/>
                </a:lnTo>
                <a:lnTo>
                  <a:pt x="8" y="469"/>
                </a:lnTo>
                <a:lnTo>
                  <a:pt x="5" y="442"/>
                </a:lnTo>
                <a:lnTo>
                  <a:pt x="2" y="414"/>
                </a:lnTo>
                <a:lnTo>
                  <a:pt x="0" y="38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8"/>
          <p:cNvSpPr>
            <a:spLocks/>
          </p:cNvSpPr>
          <p:nvPr/>
        </p:nvSpPr>
        <p:spPr bwMode="auto">
          <a:xfrm>
            <a:off x="6138188" y="3927675"/>
            <a:ext cx="1284749" cy="464457"/>
          </a:xfrm>
          <a:custGeom>
            <a:avLst/>
            <a:gdLst>
              <a:gd name="T0" fmla="*/ 0 w 1372"/>
              <a:gd name="T1" fmla="*/ 386 h 495"/>
              <a:gd name="T2" fmla="*/ 1351 w 1372"/>
              <a:gd name="T3" fmla="*/ 0 h 495"/>
              <a:gd name="T4" fmla="*/ 1354 w 1372"/>
              <a:gd name="T5" fmla="*/ 22 h 495"/>
              <a:gd name="T6" fmla="*/ 1358 w 1372"/>
              <a:gd name="T7" fmla="*/ 44 h 495"/>
              <a:gd name="T8" fmla="*/ 1362 w 1372"/>
              <a:gd name="T9" fmla="*/ 63 h 495"/>
              <a:gd name="T10" fmla="*/ 1366 w 1372"/>
              <a:gd name="T11" fmla="*/ 82 h 495"/>
              <a:gd name="T12" fmla="*/ 1369 w 1372"/>
              <a:gd name="T13" fmla="*/ 94 h 495"/>
              <a:gd name="T14" fmla="*/ 1372 w 1372"/>
              <a:gd name="T15" fmla="*/ 107 h 495"/>
              <a:gd name="T16" fmla="*/ 17 w 1372"/>
              <a:gd name="T17" fmla="*/ 495 h 495"/>
              <a:gd name="T18" fmla="*/ 12 w 1372"/>
              <a:gd name="T19" fmla="*/ 468 h 495"/>
              <a:gd name="T20" fmla="*/ 8 w 1372"/>
              <a:gd name="T21" fmla="*/ 441 h 495"/>
              <a:gd name="T22" fmla="*/ 3 w 1372"/>
              <a:gd name="T23" fmla="*/ 414 h 495"/>
              <a:gd name="T24" fmla="*/ 0 w 1372"/>
              <a:gd name="T25" fmla="*/ 386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72" h="495">
                <a:moveTo>
                  <a:pt x="0" y="386"/>
                </a:moveTo>
                <a:lnTo>
                  <a:pt x="1351" y="0"/>
                </a:lnTo>
                <a:lnTo>
                  <a:pt x="1354" y="22"/>
                </a:lnTo>
                <a:lnTo>
                  <a:pt x="1358" y="44"/>
                </a:lnTo>
                <a:lnTo>
                  <a:pt x="1362" y="63"/>
                </a:lnTo>
                <a:lnTo>
                  <a:pt x="1366" y="82"/>
                </a:lnTo>
                <a:lnTo>
                  <a:pt x="1369" y="94"/>
                </a:lnTo>
                <a:lnTo>
                  <a:pt x="1372" y="107"/>
                </a:lnTo>
                <a:lnTo>
                  <a:pt x="17" y="495"/>
                </a:lnTo>
                <a:lnTo>
                  <a:pt x="12" y="468"/>
                </a:lnTo>
                <a:lnTo>
                  <a:pt x="8" y="441"/>
                </a:lnTo>
                <a:lnTo>
                  <a:pt x="3" y="414"/>
                </a:lnTo>
                <a:lnTo>
                  <a:pt x="0" y="38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19"/>
          <p:cNvSpPr>
            <a:spLocks/>
          </p:cNvSpPr>
          <p:nvPr/>
        </p:nvSpPr>
        <p:spPr bwMode="auto">
          <a:xfrm>
            <a:off x="6145679" y="3980114"/>
            <a:ext cx="1281002" cy="464457"/>
          </a:xfrm>
          <a:custGeom>
            <a:avLst/>
            <a:gdLst>
              <a:gd name="T0" fmla="*/ 0 w 1371"/>
              <a:gd name="T1" fmla="*/ 387 h 494"/>
              <a:gd name="T2" fmla="*/ 1352 w 1371"/>
              <a:gd name="T3" fmla="*/ 0 h 494"/>
              <a:gd name="T4" fmla="*/ 1355 w 1371"/>
              <a:gd name="T5" fmla="*/ 15 h 494"/>
              <a:gd name="T6" fmla="*/ 1358 w 1371"/>
              <a:gd name="T7" fmla="*/ 28 h 494"/>
              <a:gd name="T8" fmla="*/ 1363 w 1371"/>
              <a:gd name="T9" fmla="*/ 51 h 494"/>
              <a:gd name="T10" fmla="*/ 1368 w 1371"/>
              <a:gd name="T11" fmla="*/ 73 h 494"/>
              <a:gd name="T12" fmla="*/ 1370 w 1371"/>
              <a:gd name="T13" fmla="*/ 92 h 494"/>
              <a:gd name="T14" fmla="*/ 1371 w 1371"/>
              <a:gd name="T15" fmla="*/ 108 h 494"/>
              <a:gd name="T16" fmla="*/ 22 w 1371"/>
              <a:gd name="T17" fmla="*/ 494 h 494"/>
              <a:gd name="T18" fmla="*/ 20 w 1371"/>
              <a:gd name="T19" fmla="*/ 490 h 494"/>
              <a:gd name="T20" fmla="*/ 19 w 1371"/>
              <a:gd name="T21" fmla="*/ 485 h 494"/>
              <a:gd name="T22" fmla="*/ 14 w 1371"/>
              <a:gd name="T23" fmla="*/ 461 h 494"/>
              <a:gd name="T24" fmla="*/ 8 w 1371"/>
              <a:gd name="T25" fmla="*/ 436 h 494"/>
              <a:gd name="T26" fmla="*/ 4 w 1371"/>
              <a:gd name="T27" fmla="*/ 411 h 494"/>
              <a:gd name="T28" fmla="*/ 0 w 1371"/>
              <a:gd name="T29" fmla="*/ 387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71" h="494">
                <a:moveTo>
                  <a:pt x="0" y="387"/>
                </a:moveTo>
                <a:lnTo>
                  <a:pt x="1352" y="0"/>
                </a:lnTo>
                <a:lnTo>
                  <a:pt x="1355" y="15"/>
                </a:lnTo>
                <a:lnTo>
                  <a:pt x="1358" y="28"/>
                </a:lnTo>
                <a:lnTo>
                  <a:pt x="1363" y="51"/>
                </a:lnTo>
                <a:lnTo>
                  <a:pt x="1368" y="73"/>
                </a:lnTo>
                <a:lnTo>
                  <a:pt x="1370" y="92"/>
                </a:lnTo>
                <a:lnTo>
                  <a:pt x="1371" y="108"/>
                </a:lnTo>
                <a:lnTo>
                  <a:pt x="22" y="494"/>
                </a:lnTo>
                <a:lnTo>
                  <a:pt x="20" y="490"/>
                </a:lnTo>
                <a:lnTo>
                  <a:pt x="19" y="485"/>
                </a:lnTo>
                <a:lnTo>
                  <a:pt x="14" y="461"/>
                </a:lnTo>
                <a:lnTo>
                  <a:pt x="8" y="436"/>
                </a:lnTo>
                <a:lnTo>
                  <a:pt x="4" y="411"/>
                </a:lnTo>
                <a:lnTo>
                  <a:pt x="0" y="38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Freeform 20"/>
          <p:cNvSpPr>
            <a:spLocks/>
          </p:cNvSpPr>
          <p:nvPr/>
        </p:nvSpPr>
        <p:spPr bwMode="auto">
          <a:xfrm>
            <a:off x="6153171" y="4028808"/>
            <a:ext cx="1277258" cy="464457"/>
          </a:xfrm>
          <a:custGeom>
            <a:avLst/>
            <a:gdLst>
              <a:gd name="T0" fmla="*/ 0 w 1363"/>
              <a:gd name="T1" fmla="*/ 388 h 494"/>
              <a:gd name="T2" fmla="*/ 1355 w 1363"/>
              <a:gd name="T3" fmla="*/ 0 h 494"/>
              <a:gd name="T4" fmla="*/ 1359 w 1363"/>
              <a:gd name="T5" fmla="*/ 20 h 494"/>
              <a:gd name="T6" fmla="*/ 1361 w 1363"/>
              <a:gd name="T7" fmla="*/ 36 h 494"/>
              <a:gd name="T8" fmla="*/ 1362 w 1363"/>
              <a:gd name="T9" fmla="*/ 52 h 494"/>
              <a:gd name="T10" fmla="*/ 1363 w 1363"/>
              <a:gd name="T11" fmla="*/ 66 h 494"/>
              <a:gd name="T12" fmla="*/ 1362 w 1363"/>
              <a:gd name="T13" fmla="*/ 91 h 494"/>
              <a:gd name="T14" fmla="*/ 1360 w 1363"/>
              <a:gd name="T15" fmla="*/ 113 h 494"/>
              <a:gd name="T16" fmla="*/ 28 w 1363"/>
              <a:gd name="T17" fmla="*/ 494 h 494"/>
              <a:gd name="T18" fmla="*/ 23 w 1363"/>
              <a:gd name="T19" fmla="*/ 479 h 494"/>
              <a:gd name="T20" fmla="*/ 19 w 1363"/>
              <a:gd name="T21" fmla="*/ 464 h 494"/>
              <a:gd name="T22" fmla="*/ 14 w 1363"/>
              <a:gd name="T23" fmla="*/ 448 h 494"/>
              <a:gd name="T24" fmla="*/ 10 w 1363"/>
              <a:gd name="T25" fmla="*/ 432 h 494"/>
              <a:gd name="T26" fmla="*/ 8 w 1363"/>
              <a:gd name="T27" fmla="*/ 421 h 494"/>
              <a:gd name="T28" fmla="*/ 6 w 1363"/>
              <a:gd name="T29" fmla="*/ 410 h 494"/>
              <a:gd name="T30" fmla="*/ 2 w 1363"/>
              <a:gd name="T31" fmla="*/ 399 h 494"/>
              <a:gd name="T32" fmla="*/ 0 w 1363"/>
              <a:gd name="T33" fmla="*/ 388 h 4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63" h="494">
                <a:moveTo>
                  <a:pt x="0" y="388"/>
                </a:moveTo>
                <a:lnTo>
                  <a:pt x="1355" y="0"/>
                </a:lnTo>
                <a:lnTo>
                  <a:pt x="1359" y="20"/>
                </a:lnTo>
                <a:lnTo>
                  <a:pt x="1361" y="36"/>
                </a:lnTo>
                <a:lnTo>
                  <a:pt x="1362" y="52"/>
                </a:lnTo>
                <a:lnTo>
                  <a:pt x="1363" y="66"/>
                </a:lnTo>
                <a:lnTo>
                  <a:pt x="1362" y="91"/>
                </a:lnTo>
                <a:lnTo>
                  <a:pt x="1360" y="113"/>
                </a:lnTo>
                <a:lnTo>
                  <a:pt x="28" y="494"/>
                </a:lnTo>
                <a:lnTo>
                  <a:pt x="23" y="479"/>
                </a:lnTo>
                <a:lnTo>
                  <a:pt x="19" y="464"/>
                </a:lnTo>
                <a:lnTo>
                  <a:pt x="14" y="448"/>
                </a:lnTo>
                <a:lnTo>
                  <a:pt x="10" y="432"/>
                </a:lnTo>
                <a:lnTo>
                  <a:pt x="8" y="421"/>
                </a:lnTo>
                <a:lnTo>
                  <a:pt x="6" y="410"/>
                </a:lnTo>
                <a:lnTo>
                  <a:pt x="2" y="399"/>
                </a:lnTo>
                <a:lnTo>
                  <a:pt x="0" y="3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21"/>
          <p:cNvSpPr>
            <a:spLocks/>
          </p:cNvSpPr>
          <p:nvPr/>
        </p:nvSpPr>
        <p:spPr bwMode="auto">
          <a:xfrm>
            <a:off x="6164406" y="4081246"/>
            <a:ext cx="1266020" cy="460712"/>
          </a:xfrm>
          <a:custGeom>
            <a:avLst/>
            <a:gdLst>
              <a:gd name="T0" fmla="*/ 0 w 1350"/>
              <a:gd name="T1" fmla="*/ 386 h 491"/>
              <a:gd name="T2" fmla="*/ 1349 w 1350"/>
              <a:gd name="T3" fmla="*/ 0 h 491"/>
              <a:gd name="T4" fmla="*/ 1350 w 1350"/>
              <a:gd name="T5" fmla="*/ 16 h 491"/>
              <a:gd name="T6" fmla="*/ 1349 w 1350"/>
              <a:gd name="T7" fmla="*/ 31 h 491"/>
              <a:gd name="T8" fmla="*/ 1348 w 1350"/>
              <a:gd name="T9" fmla="*/ 45 h 491"/>
              <a:gd name="T10" fmla="*/ 1347 w 1350"/>
              <a:gd name="T11" fmla="*/ 59 h 491"/>
              <a:gd name="T12" fmla="*/ 1344 w 1350"/>
              <a:gd name="T13" fmla="*/ 86 h 491"/>
              <a:gd name="T14" fmla="*/ 1342 w 1350"/>
              <a:gd name="T15" fmla="*/ 117 h 491"/>
              <a:gd name="T16" fmla="*/ 34 w 1350"/>
              <a:gd name="T17" fmla="*/ 491 h 491"/>
              <a:gd name="T18" fmla="*/ 25 w 1350"/>
              <a:gd name="T19" fmla="*/ 467 h 491"/>
              <a:gd name="T20" fmla="*/ 16 w 1350"/>
              <a:gd name="T21" fmla="*/ 441 h 491"/>
              <a:gd name="T22" fmla="*/ 8 w 1350"/>
              <a:gd name="T23" fmla="*/ 414 h 491"/>
              <a:gd name="T24" fmla="*/ 0 w 1350"/>
              <a:gd name="T25" fmla="*/ 386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50" h="491">
                <a:moveTo>
                  <a:pt x="0" y="386"/>
                </a:moveTo>
                <a:lnTo>
                  <a:pt x="1349" y="0"/>
                </a:lnTo>
                <a:lnTo>
                  <a:pt x="1350" y="16"/>
                </a:lnTo>
                <a:lnTo>
                  <a:pt x="1349" y="31"/>
                </a:lnTo>
                <a:lnTo>
                  <a:pt x="1348" y="45"/>
                </a:lnTo>
                <a:lnTo>
                  <a:pt x="1347" y="59"/>
                </a:lnTo>
                <a:lnTo>
                  <a:pt x="1344" y="86"/>
                </a:lnTo>
                <a:lnTo>
                  <a:pt x="1342" y="117"/>
                </a:lnTo>
                <a:lnTo>
                  <a:pt x="34" y="491"/>
                </a:lnTo>
                <a:lnTo>
                  <a:pt x="25" y="467"/>
                </a:lnTo>
                <a:lnTo>
                  <a:pt x="16" y="441"/>
                </a:lnTo>
                <a:lnTo>
                  <a:pt x="8" y="414"/>
                </a:lnTo>
                <a:lnTo>
                  <a:pt x="0" y="38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Freeform 22"/>
          <p:cNvSpPr>
            <a:spLocks/>
          </p:cNvSpPr>
          <p:nvPr/>
        </p:nvSpPr>
        <p:spPr bwMode="auto">
          <a:xfrm>
            <a:off x="6179389" y="4137430"/>
            <a:ext cx="1247293" cy="449474"/>
          </a:xfrm>
          <a:custGeom>
            <a:avLst/>
            <a:gdLst>
              <a:gd name="T0" fmla="*/ 0 w 1332"/>
              <a:gd name="T1" fmla="*/ 381 h 483"/>
              <a:gd name="T2" fmla="*/ 1332 w 1332"/>
              <a:gd name="T3" fmla="*/ 0 h 483"/>
              <a:gd name="T4" fmla="*/ 1329 w 1332"/>
              <a:gd name="T5" fmla="*/ 21 h 483"/>
              <a:gd name="T6" fmla="*/ 1327 w 1332"/>
              <a:gd name="T7" fmla="*/ 42 h 483"/>
              <a:gd name="T8" fmla="*/ 1327 w 1332"/>
              <a:gd name="T9" fmla="*/ 54 h 483"/>
              <a:gd name="T10" fmla="*/ 1327 w 1332"/>
              <a:gd name="T11" fmla="*/ 67 h 483"/>
              <a:gd name="T12" fmla="*/ 1327 w 1332"/>
              <a:gd name="T13" fmla="*/ 80 h 483"/>
              <a:gd name="T14" fmla="*/ 1330 w 1332"/>
              <a:gd name="T15" fmla="*/ 95 h 483"/>
              <a:gd name="T16" fmla="*/ 1331 w 1332"/>
              <a:gd name="T17" fmla="*/ 105 h 483"/>
              <a:gd name="T18" fmla="*/ 1332 w 1332"/>
              <a:gd name="T19" fmla="*/ 114 h 483"/>
              <a:gd name="T20" fmla="*/ 41 w 1332"/>
              <a:gd name="T21" fmla="*/ 483 h 483"/>
              <a:gd name="T22" fmla="*/ 30 w 1332"/>
              <a:gd name="T23" fmla="*/ 461 h 483"/>
              <a:gd name="T24" fmla="*/ 20 w 1332"/>
              <a:gd name="T25" fmla="*/ 436 h 483"/>
              <a:gd name="T26" fmla="*/ 10 w 1332"/>
              <a:gd name="T27" fmla="*/ 409 h 483"/>
              <a:gd name="T28" fmla="*/ 0 w 1332"/>
              <a:gd name="T29" fmla="*/ 381 h 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32" h="483">
                <a:moveTo>
                  <a:pt x="0" y="381"/>
                </a:moveTo>
                <a:lnTo>
                  <a:pt x="1332" y="0"/>
                </a:lnTo>
                <a:lnTo>
                  <a:pt x="1329" y="21"/>
                </a:lnTo>
                <a:lnTo>
                  <a:pt x="1327" y="42"/>
                </a:lnTo>
                <a:lnTo>
                  <a:pt x="1327" y="54"/>
                </a:lnTo>
                <a:lnTo>
                  <a:pt x="1327" y="67"/>
                </a:lnTo>
                <a:lnTo>
                  <a:pt x="1327" y="80"/>
                </a:lnTo>
                <a:lnTo>
                  <a:pt x="1330" y="95"/>
                </a:lnTo>
                <a:lnTo>
                  <a:pt x="1331" y="105"/>
                </a:lnTo>
                <a:lnTo>
                  <a:pt x="1332" y="114"/>
                </a:lnTo>
                <a:lnTo>
                  <a:pt x="41" y="483"/>
                </a:lnTo>
                <a:lnTo>
                  <a:pt x="30" y="461"/>
                </a:lnTo>
                <a:lnTo>
                  <a:pt x="20" y="436"/>
                </a:lnTo>
                <a:lnTo>
                  <a:pt x="10" y="409"/>
                </a:lnTo>
                <a:lnTo>
                  <a:pt x="0" y="38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23"/>
          <p:cNvSpPr>
            <a:spLocks/>
          </p:cNvSpPr>
          <p:nvPr/>
        </p:nvSpPr>
        <p:spPr bwMode="auto">
          <a:xfrm>
            <a:off x="6198118" y="4189868"/>
            <a:ext cx="1247293" cy="445730"/>
          </a:xfrm>
          <a:custGeom>
            <a:avLst/>
            <a:gdLst>
              <a:gd name="T0" fmla="*/ 0 w 1331"/>
              <a:gd name="T1" fmla="*/ 374 h 474"/>
              <a:gd name="T2" fmla="*/ 1308 w 1331"/>
              <a:gd name="T3" fmla="*/ 0 h 474"/>
              <a:gd name="T4" fmla="*/ 1308 w 1331"/>
              <a:gd name="T5" fmla="*/ 8 h 474"/>
              <a:gd name="T6" fmla="*/ 1308 w 1331"/>
              <a:gd name="T7" fmla="*/ 17 h 474"/>
              <a:gd name="T8" fmla="*/ 1310 w 1331"/>
              <a:gd name="T9" fmla="*/ 26 h 474"/>
              <a:gd name="T10" fmla="*/ 1311 w 1331"/>
              <a:gd name="T11" fmla="*/ 36 h 474"/>
              <a:gd name="T12" fmla="*/ 1313 w 1331"/>
              <a:gd name="T13" fmla="*/ 55 h 474"/>
              <a:gd name="T14" fmla="*/ 1318 w 1331"/>
              <a:gd name="T15" fmla="*/ 74 h 474"/>
              <a:gd name="T16" fmla="*/ 1324 w 1331"/>
              <a:gd name="T17" fmla="*/ 91 h 474"/>
              <a:gd name="T18" fmla="*/ 1331 w 1331"/>
              <a:gd name="T19" fmla="*/ 108 h 474"/>
              <a:gd name="T20" fmla="*/ 49 w 1331"/>
              <a:gd name="T21" fmla="*/ 474 h 474"/>
              <a:gd name="T22" fmla="*/ 36 w 1331"/>
              <a:gd name="T23" fmla="*/ 451 h 474"/>
              <a:gd name="T24" fmla="*/ 24 w 1331"/>
              <a:gd name="T25" fmla="*/ 427 h 474"/>
              <a:gd name="T26" fmla="*/ 11 w 1331"/>
              <a:gd name="T27" fmla="*/ 402 h 474"/>
              <a:gd name="T28" fmla="*/ 0 w 1331"/>
              <a:gd name="T29" fmla="*/ 374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31" h="474">
                <a:moveTo>
                  <a:pt x="0" y="374"/>
                </a:moveTo>
                <a:lnTo>
                  <a:pt x="1308" y="0"/>
                </a:lnTo>
                <a:lnTo>
                  <a:pt x="1308" y="8"/>
                </a:lnTo>
                <a:lnTo>
                  <a:pt x="1308" y="17"/>
                </a:lnTo>
                <a:lnTo>
                  <a:pt x="1310" y="26"/>
                </a:lnTo>
                <a:lnTo>
                  <a:pt x="1311" y="36"/>
                </a:lnTo>
                <a:lnTo>
                  <a:pt x="1313" y="55"/>
                </a:lnTo>
                <a:lnTo>
                  <a:pt x="1318" y="74"/>
                </a:lnTo>
                <a:lnTo>
                  <a:pt x="1324" y="91"/>
                </a:lnTo>
                <a:lnTo>
                  <a:pt x="1331" y="108"/>
                </a:lnTo>
                <a:lnTo>
                  <a:pt x="49" y="474"/>
                </a:lnTo>
                <a:lnTo>
                  <a:pt x="36" y="451"/>
                </a:lnTo>
                <a:lnTo>
                  <a:pt x="24" y="427"/>
                </a:lnTo>
                <a:lnTo>
                  <a:pt x="11" y="402"/>
                </a:lnTo>
                <a:lnTo>
                  <a:pt x="0" y="37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Freeform 24"/>
          <p:cNvSpPr>
            <a:spLocks/>
          </p:cNvSpPr>
          <p:nvPr/>
        </p:nvSpPr>
        <p:spPr bwMode="auto">
          <a:xfrm>
            <a:off x="6216845" y="4242307"/>
            <a:ext cx="1254784" cy="438239"/>
          </a:xfrm>
          <a:custGeom>
            <a:avLst/>
            <a:gdLst>
              <a:gd name="T0" fmla="*/ 0 w 1337"/>
              <a:gd name="T1" fmla="*/ 369 h 468"/>
              <a:gd name="T2" fmla="*/ 1291 w 1337"/>
              <a:gd name="T3" fmla="*/ 0 h 468"/>
              <a:gd name="T4" fmla="*/ 1295 w 1337"/>
              <a:gd name="T5" fmla="*/ 14 h 468"/>
              <a:gd name="T6" fmla="*/ 1298 w 1337"/>
              <a:gd name="T7" fmla="*/ 28 h 468"/>
              <a:gd name="T8" fmla="*/ 1304 w 1337"/>
              <a:gd name="T9" fmla="*/ 41 h 468"/>
              <a:gd name="T10" fmla="*/ 1309 w 1337"/>
              <a:gd name="T11" fmla="*/ 54 h 468"/>
              <a:gd name="T12" fmla="*/ 1322 w 1337"/>
              <a:gd name="T13" fmla="*/ 79 h 468"/>
              <a:gd name="T14" fmla="*/ 1337 w 1337"/>
              <a:gd name="T15" fmla="*/ 101 h 468"/>
              <a:gd name="T16" fmla="*/ 55 w 1337"/>
              <a:gd name="T17" fmla="*/ 468 h 468"/>
              <a:gd name="T18" fmla="*/ 42 w 1337"/>
              <a:gd name="T19" fmla="*/ 446 h 468"/>
              <a:gd name="T20" fmla="*/ 28 w 1337"/>
              <a:gd name="T21" fmla="*/ 422 h 468"/>
              <a:gd name="T22" fmla="*/ 14 w 1337"/>
              <a:gd name="T23" fmla="*/ 396 h 468"/>
              <a:gd name="T24" fmla="*/ 0 w 1337"/>
              <a:gd name="T25" fmla="*/ 369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37" h="468">
                <a:moveTo>
                  <a:pt x="0" y="369"/>
                </a:moveTo>
                <a:lnTo>
                  <a:pt x="1291" y="0"/>
                </a:lnTo>
                <a:lnTo>
                  <a:pt x="1295" y="14"/>
                </a:lnTo>
                <a:lnTo>
                  <a:pt x="1298" y="28"/>
                </a:lnTo>
                <a:lnTo>
                  <a:pt x="1304" y="41"/>
                </a:lnTo>
                <a:lnTo>
                  <a:pt x="1309" y="54"/>
                </a:lnTo>
                <a:lnTo>
                  <a:pt x="1322" y="79"/>
                </a:lnTo>
                <a:lnTo>
                  <a:pt x="1337" y="101"/>
                </a:lnTo>
                <a:lnTo>
                  <a:pt x="55" y="468"/>
                </a:lnTo>
                <a:lnTo>
                  <a:pt x="42" y="446"/>
                </a:lnTo>
                <a:lnTo>
                  <a:pt x="28" y="422"/>
                </a:lnTo>
                <a:lnTo>
                  <a:pt x="14" y="396"/>
                </a:lnTo>
                <a:lnTo>
                  <a:pt x="0" y="36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25"/>
          <p:cNvSpPr>
            <a:spLocks/>
          </p:cNvSpPr>
          <p:nvPr/>
        </p:nvSpPr>
        <p:spPr bwMode="auto">
          <a:xfrm>
            <a:off x="6243066" y="4291001"/>
            <a:ext cx="1258529" cy="434492"/>
          </a:xfrm>
          <a:custGeom>
            <a:avLst/>
            <a:gdLst>
              <a:gd name="T0" fmla="*/ 0 w 1343"/>
              <a:gd name="T1" fmla="*/ 366 h 465"/>
              <a:gd name="T2" fmla="*/ 1282 w 1343"/>
              <a:gd name="T3" fmla="*/ 0 h 465"/>
              <a:gd name="T4" fmla="*/ 1288 w 1343"/>
              <a:gd name="T5" fmla="*/ 13 h 465"/>
              <a:gd name="T6" fmla="*/ 1295 w 1343"/>
              <a:gd name="T7" fmla="*/ 25 h 465"/>
              <a:gd name="T8" fmla="*/ 1302 w 1343"/>
              <a:gd name="T9" fmla="*/ 38 h 465"/>
              <a:gd name="T10" fmla="*/ 1310 w 1343"/>
              <a:gd name="T11" fmla="*/ 49 h 465"/>
              <a:gd name="T12" fmla="*/ 1326 w 1343"/>
              <a:gd name="T13" fmla="*/ 73 h 465"/>
              <a:gd name="T14" fmla="*/ 1343 w 1343"/>
              <a:gd name="T15" fmla="*/ 97 h 465"/>
              <a:gd name="T16" fmla="*/ 56 w 1343"/>
              <a:gd name="T17" fmla="*/ 465 h 465"/>
              <a:gd name="T18" fmla="*/ 43 w 1343"/>
              <a:gd name="T19" fmla="*/ 441 h 465"/>
              <a:gd name="T20" fmla="*/ 29 w 1343"/>
              <a:gd name="T21" fmla="*/ 417 h 465"/>
              <a:gd name="T22" fmla="*/ 15 w 1343"/>
              <a:gd name="T23" fmla="*/ 393 h 465"/>
              <a:gd name="T24" fmla="*/ 0 w 1343"/>
              <a:gd name="T25" fmla="*/ 366 h 4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43" h="465">
                <a:moveTo>
                  <a:pt x="0" y="366"/>
                </a:moveTo>
                <a:lnTo>
                  <a:pt x="1282" y="0"/>
                </a:lnTo>
                <a:lnTo>
                  <a:pt x="1288" y="13"/>
                </a:lnTo>
                <a:lnTo>
                  <a:pt x="1295" y="25"/>
                </a:lnTo>
                <a:lnTo>
                  <a:pt x="1302" y="38"/>
                </a:lnTo>
                <a:lnTo>
                  <a:pt x="1310" y="49"/>
                </a:lnTo>
                <a:lnTo>
                  <a:pt x="1326" y="73"/>
                </a:lnTo>
                <a:lnTo>
                  <a:pt x="1343" y="97"/>
                </a:lnTo>
                <a:lnTo>
                  <a:pt x="56" y="465"/>
                </a:lnTo>
                <a:lnTo>
                  <a:pt x="43" y="441"/>
                </a:lnTo>
                <a:lnTo>
                  <a:pt x="29" y="417"/>
                </a:lnTo>
                <a:lnTo>
                  <a:pt x="15" y="393"/>
                </a:lnTo>
                <a:lnTo>
                  <a:pt x="0" y="36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Freeform 26"/>
          <p:cNvSpPr>
            <a:spLocks/>
          </p:cNvSpPr>
          <p:nvPr/>
        </p:nvSpPr>
        <p:spPr bwMode="auto">
          <a:xfrm>
            <a:off x="6269284" y="4335949"/>
            <a:ext cx="1262275" cy="438239"/>
          </a:xfrm>
          <a:custGeom>
            <a:avLst/>
            <a:gdLst>
              <a:gd name="T0" fmla="*/ 0 w 1350"/>
              <a:gd name="T1" fmla="*/ 367 h 466"/>
              <a:gd name="T2" fmla="*/ 1282 w 1350"/>
              <a:gd name="T3" fmla="*/ 0 h 466"/>
              <a:gd name="T4" fmla="*/ 1298 w 1350"/>
              <a:gd name="T5" fmla="*/ 25 h 466"/>
              <a:gd name="T6" fmla="*/ 1315 w 1350"/>
              <a:gd name="T7" fmla="*/ 48 h 466"/>
              <a:gd name="T8" fmla="*/ 1333 w 1350"/>
              <a:gd name="T9" fmla="*/ 71 h 466"/>
              <a:gd name="T10" fmla="*/ 1350 w 1350"/>
              <a:gd name="T11" fmla="*/ 95 h 466"/>
              <a:gd name="T12" fmla="*/ 53 w 1350"/>
              <a:gd name="T13" fmla="*/ 466 h 466"/>
              <a:gd name="T14" fmla="*/ 42 w 1350"/>
              <a:gd name="T15" fmla="*/ 442 h 466"/>
              <a:gd name="T16" fmla="*/ 30 w 1350"/>
              <a:gd name="T17" fmla="*/ 418 h 466"/>
              <a:gd name="T18" fmla="*/ 15 w 1350"/>
              <a:gd name="T19" fmla="*/ 393 h 466"/>
              <a:gd name="T20" fmla="*/ 0 w 1350"/>
              <a:gd name="T21" fmla="*/ 367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50" h="466">
                <a:moveTo>
                  <a:pt x="0" y="367"/>
                </a:moveTo>
                <a:lnTo>
                  <a:pt x="1282" y="0"/>
                </a:lnTo>
                <a:lnTo>
                  <a:pt x="1298" y="25"/>
                </a:lnTo>
                <a:lnTo>
                  <a:pt x="1315" y="48"/>
                </a:lnTo>
                <a:lnTo>
                  <a:pt x="1333" y="71"/>
                </a:lnTo>
                <a:lnTo>
                  <a:pt x="1350" y="95"/>
                </a:lnTo>
                <a:lnTo>
                  <a:pt x="53" y="466"/>
                </a:lnTo>
                <a:lnTo>
                  <a:pt x="42" y="442"/>
                </a:lnTo>
                <a:lnTo>
                  <a:pt x="30" y="418"/>
                </a:lnTo>
                <a:lnTo>
                  <a:pt x="15" y="393"/>
                </a:lnTo>
                <a:lnTo>
                  <a:pt x="0" y="3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27"/>
          <p:cNvSpPr>
            <a:spLocks/>
          </p:cNvSpPr>
          <p:nvPr/>
        </p:nvSpPr>
        <p:spPr bwMode="auto">
          <a:xfrm>
            <a:off x="6295504" y="4380896"/>
            <a:ext cx="1266020" cy="441983"/>
          </a:xfrm>
          <a:custGeom>
            <a:avLst/>
            <a:gdLst>
              <a:gd name="T0" fmla="*/ 0 w 1352"/>
              <a:gd name="T1" fmla="*/ 368 h 471"/>
              <a:gd name="T2" fmla="*/ 1287 w 1352"/>
              <a:gd name="T3" fmla="*/ 0 h 471"/>
              <a:gd name="T4" fmla="*/ 1305 w 1352"/>
              <a:gd name="T5" fmla="*/ 22 h 471"/>
              <a:gd name="T6" fmla="*/ 1322 w 1352"/>
              <a:gd name="T7" fmla="*/ 46 h 471"/>
              <a:gd name="T8" fmla="*/ 1338 w 1352"/>
              <a:gd name="T9" fmla="*/ 70 h 471"/>
              <a:gd name="T10" fmla="*/ 1352 w 1352"/>
              <a:gd name="T11" fmla="*/ 95 h 471"/>
              <a:gd name="T12" fmla="*/ 39 w 1352"/>
              <a:gd name="T13" fmla="*/ 471 h 471"/>
              <a:gd name="T14" fmla="*/ 37 w 1352"/>
              <a:gd name="T15" fmla="*/ 457 h 471"/>
              <a:gd name="T16" fmla="*/ 33 w 1352"/>
              <a:gd name="T17" fmla="*/ 444 h 471"/>
              <a:gd name="T18" fmla="*/ 30 w 1352"/>
              <a:gd name="T19" fmla="*/ 431 h 471"/>
              <a:gd name="T20" fmla="*/ 25 w 1352"/>
              <a:gd name="T21" fmla="*/ 418 h 471"/>
              <a:gd name="T22" fmla="*/ 14 w 1352"/>
              <a:gd name="T23" fmla="*/ 393 h 471"/>
              <a:gd name="T24" fmla="*/ 0 w 1352"/>
              <a:gd name="T25" fmla="*/ 368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52" h="471">
                <a:moveTo>
                  <a:pt x="0" y="368"/>
                </a:moveTo>
                <a:lnTo>
                  <a:pt x="1287" y="0"/>
                </a:lnTo>
                <a:lnTo>
                  <a:pt x="1305" y="22"/>
                </a:lnTo>
                <a:lnTo>
                  <a:pt x="1322" y="46"/>
                </a:lnTo>
                <a:lnTo>
                  <a:pt x="1338" y="70"/>
                </a:lnTo>
                <a:lnTo>
                  <a:pt x="1352" y="95"/>
                </a:lnTo>
                <a:lnTo>
                  <a:pt x="39" y="471"/>
                </a:lnTo>
                <a:lnTo>
                  <a:pt x="37" y="457"/>
                </a:lnTo>
                <a:lnTo>
                  <a:pt x="33" y="444"/>
                </a:lnTo>
                <a:lnTo>
                  <a:pt x="30" y="431"/>
                </a:lnTo>
                <a:lnTo>
                  <a:pt x="25" y="418"/>
                </a:lnTo>
                <a:lnTo>
                  <a:pt x="14" y="393"/>
                </a:lnTo>
                <a:lnTo>
                  <a:pt x="0" y="3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Freeform 28"/>
          <p:cNvSpPr>
            <a:spLocks/>
          </p:cNvSpPr>
          <p:nvPr/>
        </p:nvSpPr>
        <p:spPr bwMode="auto">
          <a:xfrm>
            <a:off x="6317978" y="4425844"/>
            <a:ext cx="1262275" cy="449474"/>
          </a:xfrm>
          <a:custGeom>
            <a:avLst/>
            <a:gdLst>
              <a:gd name="T0" fmla="*/ 0 w 1348"/>
              <a:gd name="T1" fmla="*/ 371 h 482"/>
              <a:gd name="T2" fmla="*/ 1297 w 1348"/>
              <a:gd name="T3" fmla="*/ 0 h 482"/>
              <a:gd name="T4" fmla="*/ 1313 w 1348"/>
              <a:gd name="T5" fmla="*/ 24 h 482"/>
              <a:gd name="T6" fmla="*/ 1327 w 1348"/>
              <a:gd name="T7" fmla="*/ 47 h 482"/>
              <a:gd name="T8" fmla="*/ 1333 w 1348"/>
              <a:gd name="T9" fmla="*/ 60 h 482"/>
              <a:gd name="T10" fmla="*/ 1339 w 1348"/>
              <a:gd name="T11" fmla="*/ 73 h 482"/>
              <a:gd name="T12" fmla="*/ 1344 w 1348"/>
              <a:gd name="T13" fmla="*/ 86 h 482"/>
              <a:gd name="T14" fmla="*/ 1348 w 1348"/>
              <a:gd name="T15" fmla="*/ 100 h 482"/>
              <a:gd name="T16" fmla="*/ 14 w 1348"/>
              <a:gd name="T17" fmla="*/ 482 h 482"/>
              <a:gd name="T18" fmla="*/ 15 w 1348"/>
              <a:gd name="T19" fmla="*/ 467 h 482"/>
              <a:gd name="T20" fmla="*/ 16 w 1348"/>
              <a:gd name="T21" fmla="*/ 452 h 482"/>
              <a:gd name="T22" fmla="*/ 16 w 1348"/>
              <a:gd name="T23" fmla="*/ 438 h 482"/>
              <a:gd name="T24" fmla="*/ 14 w 1348"/>
              <a:gd name="T25" fmla="*/ 424 h 482"/>
              <a:gd name="T26" fmla="*/ 12 w 1348"/>
              <a:gd name="T27" fmla="*/ 411 h 482"/>
              <a:gd name="T28" fmla="*/ 8 w 1348"/>
              <a:gd name="T29" fmla="*/ 397 h 482"/>
              <a:gd name="T30" fmla="*/ 5 w 1348"/>
              <a:gd name="T31" fmla="*/ 384 h 482"/>
              <a:gd name="T32" fmla="*/ 0 w 1348"/>
              <a:gd name="T33" fmla="*/ 371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48" h="482">
                <a:moveTo>
                  <a:pt x="0" y="371"/>
                </a:moveTo>
                <a:lnTo>
                  <a:pt x="1297" y="0"/>
                </a:lnTo>
                <a:lnTo>
                  <a:pt x="1313" y="24"/>
                </a:lnTo>
                <a:lnTo>
                  <a:pt x="1327" y="47"/>
                </a:lnTo>
                <a:lnTo>
                  <a:pt x="1333" y="60"/>
                </a:lnTo>
                <a:lnTo>
                  <a:pt x="1339" y="73"/>
                </a:lnTo>
                <a:lnTo>
                  <a:pt x="1344" y="86"/>
                </a:lnTo>
                <a:lnTo>
                  <a:pt x="1348" y="100"/>
                </a:lnTo>
                <a:lnTo>
                  <a:pt x="14" y="482"/>
                </a:lnTo>
                <a:lnTo>
                  <a:pt x="15" y="467"/>
                </a:lnTo>
                <a:lnTo>
                  <a:pt x="16" y="452"/>
                </a:lnTo>
                <a:lnTo>
                  <a:pt x="16" y="438"/>
                </a:lnTo>
                <a:lnTo>
                  <a:pt x="14" y="424"/>
                </a:lnTo>
                <a:lnTo>
                  <a:pt x="12" y="411"/>
                </a:lnTo>
                <a:lnTo>
                  <a:pt x="8" y="397"/>
                </a:lnTo>
                <a:lnTo>
                  <a:pt x="5" y="384"/>
                </a:lnTo>
                <a:lnTo>
                  <a:pt x="0" y="37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Freeform 29"/>
          <p:cNvSpPr>
            <a:spLocks/>
          </p:cNvSpPr>
          <p:nvPr/>
        </p:nvSpPr>
        <p:spPr bwMode="auto">
          <a:xfrm>
            <a:off x="6314231" y="4470791"/>
            <a:ext cx="1277258" cy="464457"/>
          </a:xfrm>
          <a:custGeom>
            <a:avLst/>
            <a:gdLst>
              <a:gd name="T0" fmla="*/ 19 w 1365"/>
              <a:gd name="T1" fmla="*/ 376 h 495"/>
              <a:gd name="T2" fmla="*/ 1332 w 1365"/>
              <a:gd name="T3" fmla="*/ 0 h 495"/>
              <a:gd name="T4" fmla="*/ 1338 w 1365"/>
              <a:gd name="T5" fmla="*/ 12 h 495"/>
              <a:gd name="T6" fmla="*/ 1344 w 1365"/>
              <a:gd name="T7" fmla="*/ 24 h 495"/>
              <a:gd name="T8" fmla="*/ 1349 w 1365"/>
              <a:gd name="T9" fmla="*/ 36 h 495"/>
              <a:gd name="T10" fmla="*/ 1353 w 1365"/>
              <a:gd name="T11" fmla="*/ 49 h 495"/>
              <a:gd name="T12" fmla="*/ 1358 w 1365"/>
              <a:gd name="T13" fmla="*/ 63 h 495"/>
              <a:gd name="T14" fmla="*/ 1361 w 1365"/>
              <a:gd name="T15" fmla="*/ 76 h 495"/>
              <a:gd name="T16" fmla="*/ 1363 w 1365"/>
              <a:gd name="T17" fmla="*/ 91 h 495"/>
              <a:gd name="T18" fmla="*/ 1365 w 1365"/>
              <a:gd name="T19" fmla="*/ 105 h 495"/>
              <a:gd name="T20" fmla="*/ 0 w 1365"/>
              <a:gd name="T21" fmla="*/ 495 h 495"/>
              <a:gd name="T22" fmla="*/ 7 w 1365"/>
              <a:gd name="T23" fmla="*/ 478 h 495"/>
              <a:gd name="T24" fmla="*/ 12 w 1365"/>
              <a:gd name="T25" fmla="*/ 462 h 495"/>
              <a:gd name="T26" fmla="*/ 15 w 1365"/>
              <a:gd name="T27" fmla="*/ 446 h 495"/>
              <a:gd name="T28" fmla="*/ 19 w 1365"/>
              <a:gd name="T29" fmla="*/ 431 h 495"/>
              <a:gd name="T30" fmla="*/ 20 w 1365"/>
              <a:gd name="T31" fmla="*/ 417 h 495"/>
              <a:gd name="T32" fmla="*/ 21 w 1365"/>
              <a:gd name="T33" fmla="*/ 403 h 495"/>
              <a:gd name="T34" fmla="*/ 21 w 1365"/>
              <a:gd name="T35" fmla="*/ 389 h 495"/>
              <a:gd name="T36" fmla="*/ 19 w 1365"/>
              <a:gd name="T37" fmla="*/ 376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65" h="495">
                <a:moveTo>
                  <a:pt x="19" y="376"/>
                </a:moveTo>
                <a:lnTo>
                  <a:pt x="1332" y="0"/>
                </a:lnTo>
                <a:lnTo>
                  <a:pt x="1338" y="12"/>
                </a:lnTo>
                <a:lnTo>
                  <a:pt x="1344" y="24"/>
                </a:lnTo>
                <a:lnTo>
                  <a:pt x="1349" y="36"/>
                </a:lnTo>
                <a:lnTo>
                  <a:pt x="1353" y="49"/>
                </a:lnTo>
                <a:lnTo>
                  <a:pt x="1358" y="63"/>
                </a:lnTo>
                <a:lnTo>
                  <a:pt x="1361" y="76"/>
                </a:lnTo>
                <a:lnTo>
                  <a:pt x="1363" y="91"/>
                </a:lnTo>
                <a:lnTo>
                  <a:pt x="1365" y="105"/>
                </a:lnTo>
                <a:lnTo>
                  <a:pt x="0" y="495"/>
                </a:lnTo>
                <a:lnTo>
                  <a:pt x="7" y="478"/>
                </a:lnTo>
                <a:lnTo>
                  <a:pt x="12" y="462"/>
                </a:lnTo>
                <a:lnTo>
                  <a:pt x="15" y="446"/>
                </a:lnTo>
                <a:lnTo>
                  <a:pt x="19" y="431"/>
                </a:lnTo>
                <a:lnTo>
                  <a:pt x="20" y="417"/>
                </a:lnTo>
                <a:lnTo>
                  <a:pt x="21" y="403"/>
                </a:lnTo>
                <a:lnTo>
                  <a:pt x="21" y="389"/>
                </a:lnTo>
                <a:lnTo>
                  <a:pt x="19" y="37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Freeform 30"/>
          <p:cNvSpPr>
            <a:spLocks/>
          </p:cNvSpPr>
          <p:nvPr/>
        </p:nvSpPr>
        <p:spPr bwMode="auto">
          <a:xfrm>
            <a:off x="6284266" y="4519483"/>
            <a:ext cx="1310967" cy="475695"/>
          </a:xfrm>
          <a:custGeom>
            <a:avLst/>
            <a:gdLst>
              <a:gd name="T0" fmla="*/ 51 w 1398"/>
              <a:gd name="T1" fmla="*/ 382 h 510"/>
              <a:gd name="T2" fmla="*/ 1385 w 1398"/>
              <a:gd name="T3" fmla="*/ 0 h 510"/>
              <a:gd name="T4" fmla="*/ 1390 w 1398"/>
              <a:gd name="T5" fmla="*/ 14 h 510"/>
              <a:gd name="T6" fmla="*/ 1393 w 1398"/>
              <a:gd name="T7" fmla="*/ 28 h 510"/>
              <a:gd name="T8" fmla="*/ 1396 w 1398"/>
              <a:gd name="T9" fmla="*/ 43 h 510"/>
              <a:gd name="T10" fmla="*/ 1397 w 1398"/>
              <a:gd name="T11" fmla="*/ 59 h 510"/>
              <a:gd name="T12" fmla="*/ 1398 w 1398"/>
              <a:gd name="T13" fmla="*/ 69 h 510"/>
              <a:gd name="T14" fmla="*/ 1397 w 1398"/>
              <a:gd name="T15" fmla="*/ 76 h 510"/>
              <a:gd name="T16" fmla="*/ 1396 w 1398"/>
              <a:gd name="T17" fmla="*/ 83 h 510"/>
              <a:gd name="T18" fmla="*/ 1394 w 1398"/>
              <a:gd name="T19" fmla="*/ 87 h 510"/>
              <a:gd name="T20" fmla="*/ 1391 w 1398"/>
              <a:gd name="T21" fmla="*/ 91 h 510"/>
              <a:gd name="T22" fmla="*/ 1386 w 1398"/>
              <a:gd name="T23" fmla="*/ 96 h 510"/>
              <a:gd name="T24" fmla="*/ 1379 w 1398"/>
              <a:gd name="T25" fmla="*/ 99 h 510"/>
              <a:gd name="T26" fmla="*/ 1371 w 1398"/>
              <a:gd name="T27" fmla="*/ 103 h 510"/>
              <a:gd name="T28" fmla="*/ 1275 w 1398"/>
              <a:gd name="T29" fmla="*/ 146 h 510"/>
              <a:gd name="T30" fmla="*/ 0 w 1398"/>
              <a:gd name="T31" fmla="*/ 510 h 510"/>
              <a:gd name="T32" fmla="*/ 10 w 1398"/>
              <a:gd name="T33" fmla="*/ 492 h 510"/>
              <a:gd name="T34" fmla="*/ 20 w 1398"/>
              <a:gd name="T35" fmla="*/ 474 h 510"/>
              <a:gd name="T36" fmla="*/ 27 w 1398"/>
              <a:gd name="T37" fmla="*/ 457 h 510"/>
              <a:gd name="T38" fmla="*/ 33 w 1398"/>
              <a:gd name="T39" fmla="*/ 441 h 510"/>
              <a:gd name="T40" fmla="*/ 40 w 1398"/>
              <a:gd name="T41" fmla="*/ 425 h 510"/>
              <a:gd name="T42" fmla="*/ 44 w 1398"/>
              <a:gd name="T43" fmla="*/ 410 h 510"/>
              <a:gd name="T44" fmla="*/ 47 w 1398"/>
              <a:gd name="T45" fmla="*/ 396 h 510"/>
              <a:gd name="T46" fmla="*/ 51 w 1398"/>
              <a:gd name="T47" fmla="*/ 382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398" h="510">
                <a:moveTo>
                  <a:pt x="51" y="382"/>
                </a:moveTo>
                <a:lnTo>
                  <a:pt x="1385" y="0"/>
                </a:lnTo>
                <a:lnTo>
                  <a:pt x="1390" y="14"/>
                </a:lnTo>
                <a:lnTo>
                  <a:pt x="1393" y="28"/>
                </a:lnTo>
                <a:lnTo>
                  <a:pt x="1396" y="43"/>
                </a:lnTo>
                <a:lnTo>
                  <a:pt x="1397" y="59"/>
                </a:lnTo>
                <a:lnTo>
                  <a:pt x="1398" y="69"/>
                </a:lnTo>
                <a:lnTo>
                  <a:pt x="1397" y="76"/>
                </a:lnTo>
                <a:lnTo>
                  <a:pt x="1396" y="83"/>
                </a:lnTo>
                <a:lnTo>
                  <a:pt x="1394" y="87"/>
                </a:lnTo>
                <a:lnTo>
                  <a:pt x="1391" y="91"/>
                </a:lnTo>
                <a:lnTo>
                  <a:pt x="1386" y="96"/>
                </a:lnTo>
                <a:lnTo>
                  <a:pt x="1379" y="99"/>
                </a:lnTo>
                <a:lnTo>
                  <a:pt x="1371" y="103"/>
                </a:lnTo>
                <a:lnTo>
                  <a:pt x="1275" y="146"/>
                </a:lnTo>
                <a:lnTo>
                  <a:pt x="0" y="510"/>
                </a:lnTo>
                <a:lnTo>
                  <a:pt x="10" y="492"/>
                </a:lnTo>
                <a:lnTo>
                  <a:pt x="20" y="474"/>
                </a:lnTo>
                <a:lnTo>
                  <a:pt x="27" y="457"/>
                </a:lnTo>
                <a:lnTo>
                  <a:pt x="33" y="441"/>
                </a:lnTo>
                <a:lnTo>
                  <a:pt x="40" y="425"/>
                </a:lnTo>
                <a:lnTo>
                  <a:pt x="44" y="410"/>
                </a:lnTo>
                <a:lnTo>
                  <a:pt x="47" y="396"/>
                </a:lnTo>
                <a:lnTo>
                  <a:pt x="51" y="38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Freeform 31"/>
          <p:cNvSpPr>
            <a:spLocks/>
          </p:cNvSpPr>
          <p:nvPr/>
        </p:nvSpPr>
        <p:spPr bwMode="auto">
          <a:xfrm>
            <a:off x="6243066" y="4568177"/>
            <a:ext cx="1352170" cy="494422"/>
          </a:xfrm>
          <a:custGeom>
            <a:avLst/>
            <a:gdLst>
              <a:gd name="T0" fmla="*/ 77 w 1443"/>
              <a:gd name="T1" fmla="*/ 390 h 527"/>
              <a:gd name="T2" fmla="*/ 1442 w 1443"/>
              <a:gd name="T3" fmla="*/ 0 h 527"/>
              <a:gd name="T4" fmla="*/ 1442 w 1443"/>
              <a:gd name="T5" fmla="*/ 5 h 527"/>
              <a:gd name="T6" fmla="*/ 1443 w 1443"/>
              <a:gd name="T7" fmla="*/ 15 h 527"/>
              <a:gd name="T8" fmla="*/ 1442 w 1443"/>
              <a:gd name="T9" fmla="*/ 22 h 527"/>
              <a:gd name="T10" fmla="*/ 1441 w 1443"/>
              <a:gd name="T11" fmla="*/ 29 h 527"/>
              <a:gd name="T12" fmla="*/ 1439 w 1443"/>
              <a:gd name="T13" fmla="*/ 33 h 527"/>
              <a:gd name="T14" fmla="*/ 1436 w 1443"/>
              <a:gd name="T15" fmla="*/ 37 h 527"/>
              <a:gd name="T16" fmla="*/ 1431 w 1443"/>
              <a:gd name="T17" fmla="*/ 42 h 527"/>
              <a:gd name="T18" fmla="*/ 1424 w 1443"/>
              <a:gd name="T19" fmla="*/ 45 h 527"/>
              <a:gd name="T20" fmla="*/ 1416 w 1443"/>
              <a:gd name="T21" fmla="*/ 49 h 527"/>
              <a:gd name="T22" fmla="*/ 1312 w 1443"/>
              <a:gd name="T23" fmla="*/ 96 h 527"/>
              <a:gd name="T24" fmla="*/ 1312 w 1443"/>
              <a:gd name="T25" fmla="*/ 106 h 527"/>
              <a:gd name="T26" fmla="*/ 1311 w 1443"/>
              <a:gd name="T27" fmla="*/ 119 h 527"/>
              <a:gd name="T28" fmla="*/ 1310 w 1443"/>
              <a:gd name="T29" fmla="*/ 134 h 527"/>
              <a:gd name="T30" fmla="*/ 1309 w 1443"/>
              <a:gd name="T31" fmla="*/ 153 h 527"/>
              <a:gd name="T32" fmla="*/ 0 w 1443"/>
              <a:gd name="T33" fmla="*/ 527 h 527"/>
              <a:gd name="T34" fmla="*/ 26 w 1443"/>
              <a:gd name="T35" fmla="*/ 488 h 527"/>
              <a:gd name="T36" fmla="*/ 47 w 1443"/>
              <a:gd name="T37" fmla="*/ 453 h 527"/>
              <a:gd name="T38" fmla="*/ 56 w 1443"/>
              <a:gd name="T39" fmla="*/ 436 h 527"/>
              <a:gd name="T40" fmla="*/ 65 w 1443"/>
              <a:gd name="T41" fmla="*/ 420 h 527"/>
              <a:gd name="T42" fmla="*/ 72 w 1443"/>
              <a:gd name="T43" fmla="*/ 404 h 527"/>
              <a:gd name="T44" fmla="*/ 77 w 1443"/>
              <a:gd name="T45" fmla="*/ 390 h 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443" h="527">
                <a:moveTo>
                  <a:pt x="77" y="390"/>
                </a:moveTo>
                <a:lnTo>
                  <a:pt x="1442" y="0"/>
                </a:lnTo>
                <a:lnTo>
                  <a:pt x="1442" y="5"/>
                </a:lnTo>
                <a:lnTo>
                  <a:pt x="1443" y="15"/>
                </a:lnTo>
                <a:lnTo>
                  <a:pt x="1442" y="22"/>
                </a:lnTo>
                <a:lnTo>
                  <a:pt x="1441" y="29"/>
                </a:lnTo>
                <a:lnTo>
                  <a:pt x="1439" y="33"/>
                </a:lnTo>
                <a:lnTo>
                  <a:pt x="1436" y="37"/>
                </a:lnTo>
                <a:lnTo>
                  <a:pt x="1431" y="42"/>
                </a:lnTo>
                <a:lnTo>
                  <a:pt x="1424" y="45"/>
                </a:lnTo>
                <a:lnTo>
                  <a:pt x="1416" y="49"/>
                </a:lnTo>
                <a:lnTo>
                  <a:pt x="1312" y="96"/>
                </a:lnTo>
                <a:lnTo>
                  <a:pt x="1312" y="106"/>
                </a:lnTo>
                <a:lnTo>
                  <a:pt x="1311" y="119"/>
                </a:lnTo>
                <a:lnTo>
                  <a:pt x="1310" y="134"/>
                </a:lnTo>
                <a:lnTo>
                  <a:pt x="1309" y="153"/>
                </a:lnTo>
                <a:lnTo>
                  <a:pt x="0" y="527"/>
                </a:lnTo>
                <a:lnTo>
                  <a:pt x="26" y="488"/>
                </a:lnTo>
                <a:lnTo>
                  <a:pt x="47" y="453"/>
                </a:lnTo>
                <a:lnTo>
                  <a:pt x="56" y="436"/>
                </a:lnTo>
                <a:lnTo>
                  <a:pt x="65" y="420"/>
                </a:lnTo>
                <a:lnTo>
                  <a:pt x="72" y="404"/>
                </a:lnTo>
                <a:lnTo>
                  <a:pt x="77" y="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Freeform 32"/>
          <p:cNvSpPr>
            <a:spLocks/>
          </p:cNvSpPr>
          <p:nvPr/>
        </p:nvSpPr>
        <p:spPr bwMode="auto">
          <a:xfrm>
            <a:off x="6190627" y="4658072"/>
            <a:ext cx="1288494" cy="471948"/>
          </a:xfrm>
          <a:custGeom>
            <a:avLst/>
            <a:gdLst>
              <a:gd name="T0" fmla="*/ 100 w 1375"/>
              <a:gd name="T1" fmla="*/ 364 h 507"/>
              <a:gd name="T2" fmla="*/ 1375 w 1375"/>
              <a:gd name="T3" fmla="*/ 0 h 507"/>
              <a:gd name="T4" fmla="*/ 1367 w 1375"/>
              <a:gd name="T5" fmla="*/ 4 h 507"/>
              <a:gd name="T6" fmla="*/ 1366 w 1375"/>
              <a:gd name="T7" fmla="*/ 23 h 507"/>
              <a:gd name="T8" fmla="*/ 1365 w 1375"/>
              <a:gd name="T9" fmla="*/ 50 h 507"/>
              <a:gd name="T10" fmla="*/ 1363 w 1375"/>
              <a:gd name="T11" fmla="*/ 82 h 507"/>
              <a:gd name="T12" fmla="*/ 1361 w 1375"/>
              <a:gd name="T13" fmla="*/ 119 h 507"/>
              <a:gd name="T14" fmla="*/ 0 w 1375"/>
              <a:gd name="T15" fmla="*/ 507 h 507"/>
              <a:gd name="T16" fmla="*/ 31 w 1375"/>
              <a:gd name="T17" fmla="*/ 467 h 507"/>
              <a:gd name="T18" fmla="*/ 57 w 1375"/>
              <a:gd name="T19" fmla="*/ 431 h 507"/>
              <a:gd name="T20" fmla="*/ 81 w 1375"/>
              <a:gd name="T21" fmla="*/ 396 h 507"/>
              <a:gd name="T22" fmla="*/ 100 w 1375"/>
              <a:gd name="T23" fmla="*/ 36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375" h="507">
                <a:moveTo>
                  <a:pt x="100" y="364"/>
                </a:moveTo>
                <a:lnTo>
                  <a:pt x="1375" y="0"/>
                </a:lnTo>
                <a:lnTo>
                  <a:pt x="1367" y="4"/>
                </a:lnTo>
                <a:lnTo>
                  <a:pt x="1366" y="23"/>
                </a:lnTo>
                <a:lnTo>
                  <a:pt x="1365" y="50"/>
                </a:lnTo>
                <a:lnTo>
                  <a:pt x="1363" y="82"/>
                </a:lnTo>
                <a:lnTo>
                  <a:pt x="1361" y="119"/>
                </a:lnTo>
                <a:lnTo>
                  <a:pt x="0" y="507"/>
                </a:lnTo>
                <a:lnTo>
                  <a:pt x="31" y="467"/>
                </a:lnTo>
                <a:lnTo>
                  <a:pt x="57" y="431"/>
                </a:lnTo>
                <a:lnTo>
                  <a:pt x="81" y="396"/>
                </a:lnTo>
                <a:lnTo>
                  <a:pt x="100" y="36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Freeform 33"/>
          <p:cNvSpPr>
            <a:spLocks/>
          </p:cNvSpPr>
          <p:nvPr/>
        </p:nvSpPr>
        <p:spPr bwMode="auto">
          <a:xfrm>
            <a:off x="6134441" y="4714255"/>
            <a:ext cx="1333441" cy="486931"/>
          </a:xfrm>
          <a:custGeom>
            <a:avLst/>
            <a:gdLst>
              <a:gd name="T0" fmla="*/ 116 w 1425"/>
              <a:gd name="T1" fmla="*/ 374 h 521"/>
              <a:gd name="T2" fmla="*/ 1425 w 1425"/>
              <a:gd name="T3" fmla="*/ 0 h 521"/>
              <a:gd name="T4" fmla="*/ 1424 w 1425"/>
              <a:gd name="T5" fmla="*/ 25 h 521"/>
              <a:gd name="T6" fmla="*/ 1422 w 1425"/>
              <a:gd name="T7" fmla="*/ 53 h 521"/>
              <a:gd name="T8" fmla="*/ 1419 w 1425"/>
              <a:gd name="T9" fmla="*/ 83 h 521"/>
              <a:gd name="T10" fmla="*/ 1417 w 1425"/>
              <a:gd name="T11" fmla="*/ 116 h 521"/>
              <a:gd name="T12" fmla="*/ 0 w 1425"/>
              <a:gd name="T13" fmla="*/ 521 h 521"/>
              <a:gd name="T14" fmla="*/ 33 w 1425"/>
              <a:gd name="T15" fmla="*/ 480 h 521"/>
              <a:gd name="T16" fmla="*/ 64 w 1425"/>
              <a:gd name="T17" fmla="*/ 443 h 521"/>
              <a:gd name="T18" fmla="*/ 91 w 1425"/>
              <a:gd name="T19" fmla="*/ 406 h 521"/>
              <a:gd name="T20" fmla="*/ 116 w 1425"/>
              <a:gd name="T21" fmla="*/ 374 h 5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25" h="521">
                <a:moveTo>
                  <a:pt x="116" y="374"/>
                </a:moveTo>
                <a:lnTo>
                  <a:pt x="1425" y="0"/>
                </a:lnTo>
                <a:lnTo>
                  <a:pt x="1424" y="25"/>
                </a:lnTo>
                <a:lnTo>
                  <a:pt x="1422" y="53"/>
                </a:lnTo>
                <a:lnTo>
                  <a:pt x="1419" y="83"/>
                </a:lnTo>
                <a:lnTo>
                  <a:pt x="1417" y="116"/>
                </a:lnTo>
                <a:lnTo>
                  <a:pt x="0" y="521"/>
                </a:lnTo>
                <a:lnTo>
                  <a:pt x="33" y="480"/>
                </a:lnTo>
                <a:lnTo>
                  <a:pt x="64" y="443"/>
                </a:lnTo>
                <a:lnTo>
                  <a:pt x="91" y="406"/>
                </a:lnTo>
                <a:lnTo>
                  <a:pt x="116" y="37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Freeform 34"/>
          <p:cNvSpPr>
            <a:spLocks/>
          </p:cNvSpPr>
          <p:nvPr/>
        </p:nvSpPr>
        <p:spPr bwMode="auto">
          <a:xfrm>
            <a:off x="6126950" y="4766694"/>
            <a:ext cx="1337188" cy="468204"/>
          </a:xfrm>
          <a:custGeom>
            <a:avLst/>
            <a:gdLst>
              <a:gd name="T0" fmla="*/ 67 w 1428"/>
              <a:gd name="T1" fmla="*/ 388 h 500"/>
              <a:gd name="T2" fmla="*/ 1428 w 1428"/>
              <a:gd name="T3" fmla="*/ 0 h 500"/>
              <a:gd name="T4" fmla="*/ 1425 w 1428"/>
              <a:gd name="T5" fmla="*/ 28 h 500"/>
              <a:gd name="T6" fmla="*/ 1423 w 1428"/>
              <a:gd name="T7" fmla="*/ 56 h 500"/>
              <a:gd name="T8" fmla="*/ 1421 w 1428"/>
              <a:gd name="T9" fmla="*/ 86 h 500"/>
              <a:gd name="T10" fmla="*/ 1419 w 1428"/>
              <a:gd name="T11" fmla="*/ 116 h 500"/>
              <a:gd name="T12" fmla="*/ 75 w 1428"/>
              <a:gd name="T13" fmla="*/ 500 h 500"/>
              <a:gd name="T14" fmla="*/ 55 w 1428"/>
              <a:gd name="T15" fmla="*/ 493 h 500"/>
              <a:gd name="T16" fmla="*/ 36 w 1428"/>
              <a:gd name="T17" fmla="*/ 486 h 500"/>
              <a:gd name="T18" fmla="*/ 18 w 1428"/>
              <a:gd name="T19" fmla="*/ 477 h 500"/>
              <a:gd name="T20" fmla="*/ 0 w 1428"/>
              <a:gd name="T21" fmla="*/ 470 h 500"/>
              <a:gd name="T22" fmla="*/ 0 w 1428"/>
              <a:gd name="T23" fmla="*/ 470 h 500"/>
              <a:gd name="T24" fmla="*/ 19 w 1428"/>
              <a:gd name="T25" fmla="*/ 448 h 500"/>
              <a:gd name="T26" fmla="*/ 36 w 1428"/>
              <a:gd name="T27" fmla="*/ 428 h 500"/>
              <a:gd name="T28" fmla="*/ 52 w 1428"/>
              <a:gd name="T29" fmla="*/ 407 h 500"/>
              <a:gd name="T30" fmla="*/ 67 w 1428"/>
              <a:gd name="T31" fmla="*/ 388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28" h="500">
                <a:moveTo>
                  <a:pt x="67" y="388"/>
                </a:moveTo>
                <a:lnTo>
                  <a:pt x="1428" y="0"/>
                </a:lnTo>
                <a:lnTo>
                  <a:pt x="1425" y="28"/>
                </a:lnTo>
                <a:lnTo>
                  <a:pt x="1423" y="56"/>
                </a:lnTo>
                <a:lnTo>
                  <a:pt x="1421" y="86"/>
                </a:lnTo>
                <a:lnTo>
                  <a:pt x="1419" y="116"/>
                </a:lnTo>
                <a:lnTo>
                  <a:pt x="75" y="500"/>
                </a:lnTo>
                <a:lnTo>
                  <a:pt x="55" y="493"/>
                </a:lnTo>
                <a:lnTo>
                  <a:pt x="36" y="486"/>
                </a:lnTo>
                <a:lnTo>
                  <a:pt x="18" y="477"/>
                </a:lnTo>
                <a:lnTo>
                  <a:pt x="0" y="470"/>
                </a:lnTo>
                <a:lnTo>
                  <a:pt x="0" y="470"/>
                </a:lnTo>
                <a:lnTo>
                  <a:pt x="19" y="448"/>
                </a:lnTo>
                <a:lnTo>
                  <a:pt x="36" y="428"/>
                </a:lnTo>
                <a:lnTo>
                  <a:pt x="52" y="407"/>
                </a:lnTo>
                <a:lnTo>
                  <a:pt x="67" y="38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Freeform 35"/>
          <p:cNvSpPr>
            <a:spLocks/>
          </p:cNvSpPr>
          <p:nvPr/>
        </p:nvSpPr>
        <p:spPr bwMode="auto">
          <a:xfrm>
            <a:off x="6126950" y="4822879"/>
            <a:ext cx="1333441" cy="441983"/>
          </a:xfrm>
          <a:custGeom>
            <a:avLst/>
            <a:gdLst>
              <a:gd name="T0" fmla="*/ 6 w 1423"/>
              <a:gd name="T1" fmla="*/ 405 h 473"/>
              <a:gd name="T2" fmla="*/ 1423 w 1423"/>
              <a:gd name="T3" fmla="*/ 0 h 473"/>
              <a:gd name="T4" fmla="*/ 1421 w 1423"/>
              <a:gd name="T5" fmla="*/ 29 h 473"/>
              <a:gd name="T6" fmla="*/ 1419 w 1423"/>
              <a:gd name="T7" fmla="*/ 58 h 473"/>
              <a:gd name="T8" fmla="*/ 1417 w 1423"/>
              <a:gd name="T9" fmla="*/ 88 h 473"/>
              <a:gd name="T10" fmla="*/ 1414 w 1423"/>
              <a:gd name="T11" fmla="*/ 117 h 473"/>
              <a:gd name="T12" fmla="*/ 166 w 1423"/>
              <a:gd name="T13" fmla="*/ 473 h 473"/>
              <a:gd name="T14" fmla="*/ 143 w 1423"/>
              <a:gd name="T15" fmla="*/ 465 h 473"/>
              <a:gd name="T16" fmla="*/ 122 w 1423"/>
              <a:gd name="T17" fmla="*/ 458 h 473"/>
              <a:gd name="T18" fmla="*/ 99 w 1423"/>
              <a:gd name="T19" fmla="*/ 451 h 473"/>
              <a:gd name="T20" fmla="*/ 79 w 1423"/>
              <a:gd name="T21" fmla="*/ 444 h 473"/>
              <a:gd name="T22" fmla="*/ 59 w 1423"/>
              <a:gd name="T23" fmla="*/ 436 h 473"/>
              <a:gd name="T24" fmla="*/ 38 w 1423"/>
              <a:gd name="T25" fmla="*/ 429 h 473"/>
              <a:gd name="T26" fmla="*/ 19 w 1423"/>
              <a:gd name="T27" fmla="*/ 420 h 473"/>
              <a:gd name="T28" fmla="*/ 0 w 1423"/>
              <a:gd name="T29" fmla="*/ 412 h 473"/>
              <a:gd name="T30" fmla="*/ 0 w 1423"/>
              <a:gd name="T31" fmla="*/ 412 h 473"/>
              <a:gd name="T32" fmla="*/ 6 w 1423"/>
              <a:gd name="T33" fmla="*/ 405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23" h="473">
                <a:moveTo>
                  <a:pt x="6" y="405"/>
                </a:moveTo>
                <a:lnTo>
                  <a:pt x="1423" y="0"/>
                </a:lnTo>
                <a:lnTo>
                  <a:pt x="1421" y="29"/>
                </a:lnTo>
                <a:lnTo>
                  <a:pt x="1419" y="58"/>
                </a:lnTo>
                <a:lnTo>
                  <a:pt x="1417" y="88"/>
                </a:lnTo>
                <a:lnTo>
                  <a:pt x="1414" y="117"/>
                </a:lnTo>
                <a:lnTo>
                  <a:pt x="166" y="473"/>
                </a:lnTo>
                <a:lnTo>
                  <a:pt x="143" y="465"/>
                </a:lnTo>
                <a:lnTo>
                  <a:pt x="122" y="458"/>
                </a:lnTo>
                <a:lnTo>
                  <a:pt x="99" y="451"/>
                </a:lnTo>
                <a:lnTo>
                  <a:pt x="79" y="444"/>
                </a:lnTo>
                <a:lnTo>
                  <a:pt x="59" y="436"/>
                </a:lnTo>
                <a:lnTo>
                  <a:pt x="38" y="429"/>
                </a:lnTo>
                <a:lnTo>
                  <a:pt x="19" y="420"/>
                </a:lnTo>
                <a:lnTo>
                  <a:pt x="0" y="412"/>
                </a:lnTo>
                <a:lnTo>
                  <a:pt x="0" y="412"/>
                </a:lnTo>
                <a:lnTo>
                  <a:pt x="6" y="40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Freeform 36"/>
          <p:cNvSpPr>
            <a:spLocks/>
          </p:cNvSpPr>
          <p:nvPr/>
        </p:nvSpPr>
        <p:spPr bwMode="auto">
          <a:xfrm>
            <a:off x="6198118" y="4875318"/>
            <a:ext cx="1258529" cy="419509"/>
          </a:xfrm>
          <a:custGeom>
            <a:avLst/>
            <a:gdLst>
              <a:gd name="T0" fmla="*/ 0 w 1344"/>
              <a:gd name="T1" fmla="*/ 384 h 448"/>
              <a:gd name="T2" fmla="*/ 1344 w 1344"/>
              <a:gd name="T3" fmla="*/ 0 h 448"/>
              <a:gd name="T4" fmla="*/ 1343 w 1344"/>
              <a:gd name="T5" fmla="*/ 15 h 448"/>
              <a:gd name="T6" fmla="*/ 1342 w 1344"/>
              <a:gd name="T7" fmla="*/ 31 h 448"/>
              <a:gd name="T8" fmla="*/ 1340 w 1344"/>
              <a:gd name="T9" fmla="*/ 46 h 448"/>
              <a:gd name="T10" fmla="*/ 1339 w 1344"/>
              <a:gd name="T11" fmla="*/ 61 h 448"/>
              <a:gd name="T12" fmla="*/ 1338 w 1344"/>
              <a:gd name="T13" fmla="*/ 75 h 448"/>
              <a:gd name="T14" fmla="*/ 1335 w 1344"/>
              <a:gd name="T15" fmla="*/ 89 h 448"/>
              <a:gd name="T16" fmla="*/ 1332 w 1344"/>
              <a:gd name="T17" fmla="*/ 104 h 448"/>
              <a:gd name="T18" fmla="*/ 1329 w 1344"/>
              <a:gd name="T19" fmla="*/ 119 h 448"/>
              <a:gd name="T20" fmla="*/ 175 w 1344"/>
              <a:gd name="T21" fmla="*/ 448 h 448"/>
              <a:gd name="T22" fmla="*/ 152 w 1344"/>
              <a:gd name="T23" fmla="*/ 439 h 448"/>
              <a:gd name="T24" fmla="*/ 130 w 1344"/>
              <a:gd name="T25" fmla="*/ 430 h 448"/>
              <a:gd name="T26" fmla="*/ 107 w 1344"/>
              <a:gd name="T27" fmla="*/ 421 h 448"/>
              <a:gd name="T28" fmla="*/ 86 w 1344"/>
              <a:gd name="T29" fmla="*/ 414 h 448"/>
              <a:gd name="T30" fmla="*/ 63 w 1344"/>
              <a:gd name="T31" fmla="*/ 406 h 448"/>
              <a:gd name="T32" fmla="*/ 42 w 1344"/>
              <a:gd name="T33" fmla="*/ 399 h 448"/>
              <a:gd name="T34" fmla="*/ 20 w 1344"/>
              <a:gd name="T35" fmla="*/ 391 h 448"/>
              <a:gd name="T36" fmla="*/ 0 w 1344"/>
              <a:gd name="T37" fmla="*/ 384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44" h="448">
                <a:moveTo>
                  <a:pt x="0" y="384"/>
                </a:moveTo>
                <a:lnTo>
                  <a:pt x="1344" y="0"/>
                </a:lnTo>
                <a:lnTo>
                  <a:pt x="1343" y="15"/>
                </a:lnTo>
                <a:lnTo>
                  <a:pt x="1342" y="31"/>
                </a:lnTo>
                <a:lnTo>
                  <a:pt x="1340" y="46"/>
                </a:lnTo>
                <a:lnTo>
                  <a:pt x="1339" y="61"/>
                </a:lnTo>
                <a:lnTo>
                  <a:pt x="1338" y="75"/>
                </a:lnTo>
                <a:lnTo>
                  <a:pt x="1335" y="89"/>
                </a:lnTo>
                <a:lnTo>
                  <a:pt x="1332" y="104"/>
                </a:lnTo>
                <a:lnTo>
                  <a:pt x="1329" y="119"/>
                </a:lnTo>
                <a:lnTo>
                  <a:pt x="175" y="448"/>
                </a:lnTo>
                <a:lnTo>
                  <a:pt x="152" y="439"/>
                </a:lnTo>
                <a:lnTo>
                  <a:pt x="130" y="430"/>
                </a:lnTo>
                <a:lnTo>
                  <a:pt x="107" y="421"/>
                </a:lnTo>
                <a:lnTo>
                  <a:pt x="86" y="414"/>
                </a:lnTo>
                <a:lnTo>
                  <a:pt x="63" y="406"/>
                </a:lnTo>
                <a:lnTo>
                  <a:pt x="42" y="399"/>
                </a:lnTo>
                <a:lnTo>
                  <a:pt x="20" y="391"/>
                </a:lnTo>
                <a:lnTo>
                  <a:pt x="0" y="38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Freeform 37"/>
          <p:cNvSpPr>
            <a:spLocks/>
          </p:cNvSpPr>
          <p:nvPr/>
        </p:nvSpPr>
        <p:spPr bwMode="auto">
          <a:xfrm>
            <a:off x="6284266" y="4931501"/>
            <a:ext cx="1168634" cy="397036"/>
          </a:xfrm>
          <a:custGeom>
            <a:avLst/>
            <a:gdLst>
              <a:gd name="T0" fmla="*/ 0 w 1248"/>
              <a:gd name="T1" fmla="*/ 356 h 426"/>
              <a:gd name="T2" fmla="*/ 1248 w 1248"/>
              <a:gd name="T3" fmla="*/ 0 h 426"/>
              <a:gd name="T4" fmla="*/ 1248 w 1248"/>
              <a:gd name="T5" fmla="*/ 2 h 426"/>
              <a:gd name="T6" fmla="*/ 1247 w 1248"/>
              <a:gd name="T7" fmla="*/ 17 h 426"/>
              <a:gd name="T8" fmla="*/ 1243 w 1248"/>
              <a:gd name="T9" fmla="*/ 33 h 426"/>
              <a:gd name="T10" fmla="*/ 1240 w 1248"/>
              <a:gd name="T11" fmla="*/ 48 h 426"/>
              <a:gd name="T12" fmla="*/ 1236 w 1248"/>
              <a:gd name="T13" fmla="*/ 64 h 426"/>
              <a:gd name="T14" fmla="*/ 1230 w 1248"/>
              <a:gd name="T15" fmla="*/ 81 h 426"/>
              <a:gd name="T16" fmla="*/ 1223 w 1248"/>
              <a:gd name="T17" fmla="*/ 97 h 426"/>
              <a:gd name="T18" fmla="*/ 1215 w 1248"/>
              <a:gd name="T19" fmla="*/ 112 h 426"/>
              <a:gd name="T20" fmla="*/ 1205 w 1248"/>
              <a:gd name="T21" fmla="*/ 126 h 426"/>
              <a:gd name="T22" fmla="*/ 951 w 1248"/>
              <a:gd name="T23" fmla="*/ 199 h 426"/>
              <a:gd name="T24" fmla="*/ 721 w 1248"/>
              <a:gd name="T25" fmla="*/ 209 h 426"/>
              <a:gd name="T26" fmla="*/ 716 w 1248"/>
              <a:gd name="T27" fmla="*/ 224 h 426"/>
              <a:gd name="T28" fmla="*/ 713 w 1248"/>
              <a:gd name="T29" fmla="*/ 240 h 426"/>
              <a:gd name="T30" fmla="*/ 710 w 1248"/>
              <a:gd name="T31" fmla="*/ 254 h 426"/>
              <a:gd name="T32" fmla="*/ 707 w 1248"/>
              <a:gd name="T33" fmla="*/ 269 h 426"/>
              <a:gd name="T34" fmla="*/ 154 w 1248"/>
              <a:gd name="T35" fmla="*/ 426 h 426"/>
              <a:gd name="T36" fmla="*/ 142 w 1248"/>
              <a:gd name="T37" fmla="*/ 419 h 426"/>
              <a:gd name="T38" fmla="*/ 130 w 1248"/>
              <a:gd name="T39" fmla="*/ 413 h 426"/>
              <a:gd name="T40" fmla="*/ 118 w 1248"/>
              <a:gd name="T41" fmla="*/ 406 h 426"/>
              <a:gd name="T42" fmla="*/ 105 w 1248"/>
              <a:gd name="T43" fmla="*/ 400 h 426"/>
              <a:gd name="T44" fmla="*/ 79 w 1248"/>
              <a:gd name="T45" fmla="*/ 387 h 426"/>
              <a:gd name="T46" fmla="*/ 53 w 1248"/>
              <a:gd name="T47" fmla="*/ 376 h 426"/>
              <a:gd name="T48" fmla="*/ 26 w 1248"/>
              <a:gd name="T49" fmla="*/ 366 h 426"/>
              <a:gd name="T50" fmla="*/ 0 w 1248"/>
              <a:gd name="T51" fmla="*/ 356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48" h="426">
                <a:moveTo>
                  <a:pt x="0" y="356"/>
                </a:moveTo>
                <a:lnTo>
                  <a:pt x="1248" y="0"/>
                </a:lnTo>
                <a:lnTo>
                  <a:pt x="1248" y="2"/>
                </a:lnTo>
                <a:lnTo>
                  <a:pt x="1247" y="17"/>
                </a:lnTo>
                <a:lnTo>
                  <a:pt x="1243" y="33"/>
                </a:lnTo>
                <a:lnTo>
                  <a:pt x="1240" y="48"/>
                </a:lnTo>
                <a:lnTo>
                  <a:pt x="1236" y="64"/>
                </a:lnTo>
                <a:lnTo>
                  <a:pt x="1230" y="81"/>
                </a:lnTo>
                <a:lnTo>
                  <a:pt x="1223" y="97"/>
                </a:lnTo>
                <a:lnTo>
                  <a:pt x="1215" y="112"/>
                </a:lnTo>
                <a:lnTo>
                  <a:pt x="1205" y="126"/>
                </a:lnTo>
                <a:lnTo>
                  <a:pt x="951" y="199"/>
                </a:lnTo>
                <a:lnTo>
                  <a:pt x="721" y="209"/>
                </a:lnTo>
                <a:lnTo>
                  <a:pt x="716" y="224"/>
                </a:lnTo>
                <a:lnTo>
                  <a:pt x="713" y="240"/>
                </a:lnTo>
                <a:lnTo>
                  <a:pt x="710" y="254"/>
                </a:lnTo>
                <a:lnTo>
                  <a:pt x="707" y="269"/>
                </a:lnTo>
                <a:lnTo>
                  <a:pt x="154" y="426"/>
                </a:lnTo>
                <a:lnTo>
                  <a:pt x="142" y="419"/>
                </a:lnTo>
                <a:lnTo>
                  <a:pt x="130" y="413"/>
                </a:lnTo>
                <a:lnTo>
                  <a:pt x="118" y="406"/>
                </a:lnTo>
                <a:lnTo>
                  <a:pt x="105" y="400"/>
                </a:lnTo>
                <a:lnTo>
                  <a:pt x="79" y="387"/>
                </a:lnTo>
                <a:lnTo>
                  <a:pt x="53" y="376"/>
                </a:lnTo>
                <a:lnTo>
                  <a:pt x="26" y="366"/>
                </a:lnTo>
                <a:lnTo>
                  <a:pt x="0" y="35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Freeform 38"/>
          <p:cNvSpPr>
            <a:spLocks/>
          </p:cNvSpPr>
          <p:nvPr/>
        </p:nvSpPr>
        <p:spPr bwMode="auto">
          <a:xfrm>
            <a:off x="6362925" y="4987687"/>
            <a:ext cx="1078739" cy="378309"/>
          </a:xfrm>
          <a:custGeom>
            <a:avLst/>
            <a:gdLst>
              <a:gd name="T0" fmla="*/ 0 w 1154"/>
              <a:gd name="T1" fmla="*/ 329 h 406"/>
              <a:gd name="T2" fmla="*/ 1154 w 1154"/>
              <a:gd name="T3" fmla="*/ 0 h 406"/>
              <a:gd name="T4" fmla="*/ 1150 w 1154"/>
              <a:gd name="T5" fmla="*/ 12 h 406"/>
              <a:gd name="T6" fmla="*/ 1144 w 1154"/>
              <a:gd name="T7" fmla="*/ 25 h 406"/>
              <a:gd name="T8" fmla="*/ 1139 w 1154"/>
              <a:gd name="T9" fmla="*/ 37 h 406"/>
              <a:gd name="T10" fmla="*/ 1132 w 1154"/>
              <a:gd name="T11" fmla="*/ 49 h 406"/>
              <a:gd name="T12" fmla="*/ 1125 w 1154"/>
              <a:gd name="T13" fmla="*/ 60 h 406"/>
              <a:gd name="T14" fmla="*/ 1117 w 1154"/>
              <a:gd name="T15" fmla="*/ 71 h 406"/>
              <a:gd name="T16" fmla="*/ 1108 w 1154"/>
              <a:gd name="T17" fmla="*/ 82 h 406"/>
              <a:gd name="T18" fmla="*/ 1097 w 1154"/>
              <a:gd name="T19" fmla="*/ 92 h 406"/>
              <a:gd name="T20" fmla="*/ 1086 w 1154"/>
              <a:gd name="T21" fmla="*/ 100 h 406"/>
              <a:gd name="T22" fmla="*/ 1073 w 1154"/>
              <a:gd name="T23" fmla="*/ 109 h 406"/>
              <a:gd name="T24" fmla="*/ 1060 w 1154"/>
              <a:gd name="T25" fmla="*/ 116 h 406"/>
              <a:gd name="T26" fmla="*/ 1045 w 1154"/>
              <a:gd name="T27" fmla="*/ 122 h 406"/>
              <a:gd name="T28" fmla="*/ 1029 w 1154"/>
              <a:gd name="T29" fmla="*/ 127 h 406"/>
              <a:gd name="T30" fmla="*/ 1012 w 1154"/>
              <a:gd name="T31" fmla="*/ 130 h 406"/>
              <a:gd name="T32" fmla="*/ 993 w 1154"/>
              <a:gd name="T33" fmla="*/ 134 h 406"/>
              <a:gd name="T34" fmla="*/ 972 w 1154"/>
              <a:gd name="T35" fmla="*/ 135 h 406"/>
              <a:gd name="T36" fmla="*/ 637 w 1154"/>
              <a:gd name="T37" fmla="*/ 149 h 406"/>
              <a:gd name="T38" fmla="*/ 629 w 1154"/>
              <a:gd name="T39" fmla="*/ 182 h 406"/>
              <a:gd name="T40" fmla="*/ 622 w 1154"/>
              <a:gd name="T41" fmla="*/ 213 h 406"/>
              <a:gd name="T42" fmla="*/ 615 w 1154"/>
              <a:gd name="T43" fmla="*/ 242 h 406"/>
              <a:gd name="T44" fmla="*/ 609 w 1154"/>
              <a:gd name="T45" fmla="*/ 270 h 406"/>
              <a:gd name="T46" fmla="*/ 133 w 1154"/>
              <a:gd name="T47" fmla="*/ 406 h 406"/>
              <a:gd name="T48" fmla="*/ 108 w 1154"/>
              <a:gd name="T49" fmla="*/ 388 h 406"/>
              <a:gd name="T50" fmla="*/ 80 w 1154"/>
              <a:gd name="T51" fmla="*/ 372 h 406"/>
              <a:gd name="T52" fmla="*/ 52 w 1154"/>
              <a:gd name="T53" fmla="*/ 356 h 406"/>
              <a:gd name="T54" fmla="*/ 21 w 1154"/>
              <a:gd name="T55" fmla="*/ 340 h 406"/>
              <a:gd name="T56" fmla="*/ 11 w 1154"/>
              <a:gd name="T57" fmla="*/ 335 h 406"/>
              <a:gd name="T58" fmla="*/ 0 w 1154"/>
              <a:gd name="T59" fmla="*/ 329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54" h="406">
                <a:moveTo>
                  <a:pt x="0" y="329"/>
                </a:moveTo>
                <a:lnTo>
                  <a:pt x="1154" y="0"/>
                </a:lnTo>
                <a:lnTo>
                  <a:pt x="1150" y="12"/>
                </a:lnTo>
                <a:lnTo>
                  <a:pt x="1144" y="25"/>
                </a:lnTo>
                <a:lnTo>
                  <a:pt x="1139" y="37"/>
                </a:lnTo>
                <a:lnTo>
                  <a:pt x="1132" y="49"/>
                </a:lnTo>
                <a:lnTo>
                  <a:pt x="1125" y="60"/>
                </a:lnTo>
                <a:lnTo>
                  <a:pt x="1117" y="71"/>
                </a:lnTo>
                <a:lnTo>
                  <a:pt x="1108" y="82"/>
                </a:lnTo>
                <a:lnTo>
                  <a:pt x="1097" y="92"/>
                </a:lnTo>
                <a:lnTo>
                  <a:pt x="1086" y="100"/>
                </a:lnTo>
                <a:lnTo>
                  <a:pt x="1073" y="109"/>
                </a:lnTo>
                <a:lnTo>
                  <a:pt x="1060" y="116"/>
                </a:lnTo>
                <a:lnTo>
                  <a:pt x="1045" y="122"/>
                </a:lnTo>
                <a:lnTo>
                  <a:pt x="1029" y="127"/>
                </a:lnTo>
                <a:lnTo>
                  <a:pt x="1012" y="130"/>
                </a:lnTo>
                <a:lnTo>
                  <a:pt x="993" y="134"/>
                </a:lnTo>
                <a:lnTo>
                  <a:pt x="972" y="135"/>
                </a:lnTo>
                <a:lnTo>
                  <a:pt x="637" y="149"/>
                </a:lnTo>
                <a:lnTo>
                  <a:pt x="629" y="182"/>
                </a:lnTo>
                <a:lnTo>
                  <a:pt x="622" y="213"/>
                </a:lnTo>
                <a:lnTo>
                  <a:pt x="615" y="242"/>
                </a:lnTo>
                <a:lnTo>
                  <a:pt x="609" y="270"/>
                </a:lnTo>
                <a:lnTo>
                  <a:pt x="133" y="406"/>
                </a:lnTo>
                <a:lnTo>
                  <a:pt x="108" y="388"/>
                </a:lnTo>
                <a:lnTo>
                  <a:pt x="80" y="372"/>
                </a:lnTo>
                <a:lnTo>
                  <a:pt x="52" y="356"/>
                </a:lnTo>
                <a:lnTo>
                  <a:pt x="21" y="340"/>
                </a:lnTo>
                <a:lnTo>
                  <a:pt x="11" y="335"/>
                </a:lnTo>
                <a:lnTo>
                  <a:pt x="0" y="32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Freeform 39"/>
          <p:cNvSpPr>
            <a:spLocks noEditPoints="1"/>
          </p:cNvSpPr>
          <p:nvPr/>
        </p:nvSpPr>
        <p:spPr bwMode="auto">
          <a:xfrm>
            <a:off x="6426600" y="5047617"/>
            <a:ext cx="985099" cy="359580"/>
          </a:xfrm>
          <a:custGeom>
            <a:avLst/>
            <a:gdLst>
              <a:gd name="T0" fmla="*/ 0 w 1051"/>
              <a:gd name="T1" fmla="*/ 300 h 380"/>
              <a:gd name="T2" fmla="*/ 553 w 1051"/>
              <a:gd name="T3" fmla="*/ 143 h 380"/>
              <a:gd name="T4" fmla="*/ 545 w 1051"/>
              <a:gd name="T5" fmla="*/ 176 h 380"/>
              <a:gd name="T6" fmla="*/ 538 w 1051"/>
              <a:gd name="T7" fmla="*/ 208 h 380"/>
              <a:gd name="T8" fmla="*/ 531 w 1051"/>
              <a:gd name="T9" fmla="*/ 237 h 380"/>
              <a:gd name="T10" fmla="*/ 525 w 1051"/>
              <a:gd name="T11" fmla="*/ 264 h 380"/>
              <a:gd name="T12" fmla="*/ 119 w 1051"/>
              <a:gd name="T13" fmla="*/ 380 h 380"/>
              <a:gd name="T14" fmla="*/ 91 w 1051"/>
              <a:gd name="T15" fmla="*/ 360 h 380"/>
              <a:gd name="T16" fmla="*/ 62 w 1051"/>
              <a:gd name="T17" fmla="*/ 340 h 380"/>
              <a:gd name="T18" fmla="*/ 32 w 1051"/>
              <a:gd name="T19" fmla="*/ 319 h 380"/>
              <a:gd name="T20" fmla="*/ 0 w 1051"/>
              <a:gd name="T21" fmla="*/ 300 h 380"/>
              <a:gd name="T22" fmla="*/ 797 w 1051"/>
              <a:gd name="T23" fmla="*/ 73 h 380"/>
              <a:gd name="T24" fmla="*/ 1051 w 1051"/>
              <a:gd name="T25" fmla="*/ 0 h 380"/>
              <a:gd name="T26" fmla="*/ 1040 w 1051"/>
              <a:gd name="T27" fmla="*/ 14 h 380"/>
              <a:gd name="T28" fmla="*/ 1026 w 1051"/>
              <a:gd name="T29" fmla="*/ 27 h 380"/>
              <a:gd name="T30" fmla="*/ 1018 w 1051"/>
              <a:gd name="T31" fmla="*/ 33 h 380"/>
              <a:gd name="T32" fmla="*/ 1011 w 1051"/>
              <a:gd name="T33" fmla="*/ 38 h 380"/>
              <a:gd name="T34" fmla="*/ 1002 w 1051"/>
              <a:gd name="T35" fmla="*/ 44 h 380"/>
              <a:gd name="T36" fmla="*/ 994 w 1051"/>
              <a:gd name="T37" fmla="*/ 48 h 380"/>
              <a:gd name="T38" fmla="*/ 984 w 1051"/>
              <a:gd name="T39" fmla="*/ 52 h 380"/>
              <a:gd name="T40" fmla="*/ 974 w 1051"/>
              <a:gd name="T41" fmla="*/ 57 h 380"/>
              <a:gd name="T42" fmla="*/ 964 w 1051"/>
              <a:gd name="T43" fmla="*/ 60 h 380"/>
              <a:gd name="T44" fmla="*/ 953 w 1051"/>
              <a:gd name="T45" fmla="*/ 62 h 380"/>
              <a:gd name="T46" fmla="*/ 941 w 1051"/>
              <a:gd name="T47" fmla="*/ 64 h 380"/>
              <a:gd name="T48" fmla="*/ 929 w 1051"/>
              <a:gd name="T49" fmla="*/ 66 h 380"/>
              <a:gd name="T50" fmla="*/ 916 w 1051"/>
              <a:gd name="T51" fmla="*/ 68 h 380"/>
              <a:gd name="T52" fmla="*/ 902 w 1051"/>
              <a:gd name="T53" fmla="*/ 69 h 380"/>
              <a:gd name="T54" fmla="*/ 797 w 1051"/>
              <a:gd name="T55" fmla="*/ 73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51" h="380">
                <a:moveTo>
                  <a:pt x="0" y="300"/>
                </a:moveTo>
                <a:lnTo>
                  <a:pt x="553" y="143"/>
                </a:lnTo>
                <a:lnTo>
                  <a:pt x="545" y="176"/>
                </a:lnTo>
                <a:lnTo>
                  <a:pt x="538" y="208"/>
                </a:lnTo>
                <a:lnTo>
                  <a:pt x="531" y="237"/>
                </a:lnTo>
                <a:lnTo>
                  <a:pt x="525" y="264"/>
                </a:lnTo>
                <a:lnTo>
                  <a:pt x="119" y="380"/>
                </a:lnTo>
                <a:lnTo>
                  <a:pt x="91" y="360"/>
                </a:lnTo>
                <a:lnTo>
                  <a:pt x="62" y="340"/>
                </a:lnTo>
                <a:lnTo>
                  <a:pt x="32" y="319"/>
                </a:lnTo>
                <a:lnTo>
                  <a:pt x="0" y="300"/>
                </a:lnTo>
                <a:close/>
                <a:moveTo>
                  <a:pt x="797" y="73"/>
                </a:moveTo>
                <a:lnTo>
                  <a:pt x="1051" y="0"/>
                </a:lnTo>
                <a:lnTo>
                  <a:pt x="1040" y="14"/>
                </a:lnTo>
                <a:lnTo>
                  <a:pt x="1026" y="27"/>
                </a:lnTo>
                <a:lnTo>
                  <a:pt x="1018" y="33"/>
                </a:lnTo>
                <a:lnTo>
                  <a:pt x="1011" y="38"/>
                </a:lnTo>
                <a:lnTo>
                  <a:pt x="1002" y="44"/>
                </a:lnTo>
                <a:lnTo>
                  <a:pt x="994" y="48"/>
                </a:lnTo>
                <a:lnTo>
                  <a:pt x="984" y="52"/>
                </a:lnTo>
                <a:lnTo>
                  <a:pt x="974" y="57"/>
                </a:lnTo>
                <a:lnTo>
                  <a:pt x="964" y="60"/>
                </a:lnTo>
                <a:lnTo>
                  <a:pt x="953" y="62"/>
                </a:lnTo>
                <a:lnTo>
                  <a:pt x="941" y="64"/>
                </a:lnTo>
                <a:lnTo>
                  <a:pt x="929" y="66"/>
                </a:lnTo>
                <a:lnTo>
                  <a:pt x="916" y="68"/>
                </a:lnTo>
                <a:lnTo>
                  <a:pt x="902" y="69"/>
                </a:lnTo>
                <a:lnTo>
                  <a:pt x="797" y="7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Freeform 40"/>
          <p:cNvSpPr>
            <a:spLocks/>
          </p:cNvSpPr>
          <p:nvPr/>
        </p:nvSpPr>
        <p:spPr bwMode="auto">
          <a:xfrm>
            <a:off x="6486530" y="5242389"/>
            <a:ext cx="445730" cy="202263"/>
          </a:xfrm>
          <a:custGeom>
            <a:avLst/>
            <a:gdLst>
              <a:gd name="T0" fmla="*/ 0 w 476"/>
              <a:gd name="T1" fmla="*/ 136 h 219"/>
              <a:gd name="T2" fmla="*/ 476 w 476"/>
              <a:gd name="T3" fmla="*/ 0 h 219"/>
              <a:gd name="T4" fmla="*/ 468 w 476"/>
              <a:gd name="T5" fmla="*/ 35 h 219"/>
              <a:gd name="T6" fmla="*/ 461 w 476"/>
              <a:gd name="T7" fmla="*/ 66 h 219"/>
              <a:gd name="T8" fmla="*/ 453 w 476"/>
              <a:gd name="T9" fmla="*/ 96 h 219"/>
              <a:gd name="T10" fmla="*/ 448 w 476"/>
              <a:gd name="T11" fmla="*/ 122 h 219"/>
              <a:gd name="T12" fmla="*/ 107 w 476"/>
              <a:gd name="T13" fmla="*/ 219 h 219"/>
              <a:gd name="T14" fmla="*/ 82 w 476"/>
              <a:gd name="T15" fmla="*/ 197 h 219"/>
              <a:gd name="T16" fmla="*/ 56 w 476"/>
              <a:gd name="T17" fmla="*/ 176 h 219"/>
              <a:gd name="T18" fmla="*/ 28 w 476"/>
              <a:gd name="T19" fmla="*/ 155 h 219"/>
              <a:gd name="T20" fmla="*/ 0 w 476"/>
              <a:gd name="T21" fmla="*/ 136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76" h="219">
                <a:moveTo>
                  <a:pt x="0" y="136"/>
                </a:moveTo>
                <a:lnTo>
                  <a:pt x="476" y="0"/>
                </a:lnTo>
                <a:lnTo>
                  <a:pt x="468" y="35"/>
                </a:lnTo>
                <a:lnTo>
                  <a:pt x="461" y="66"/>
                </a:lnTo>
                <a:lnTo>
                  <a:pt x="453" y="96"/>
                </a:lnTo>
                <a:lnTo>
                  <a:pt x="448" y="122"/>
                </a:lnTo>
                <a:lnTo>
                  <a:pt x="107" y="219"/>
                </a:lnTo>
                <a:lnTo>
                  <a:pt x="82" y="197"/>
                </a:lnTo>
                <a:lnTo>
                  <a:pt x="56" y="176"/>
                </a:lnTo>
                <a:lnTo>
                  <a:pt x="28" y="155"/>
                </a:lnTo>
                <a:lnTo>
                  <a:pt x="0" y="1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Freeform 41"/>
          <p:cNvSpPr>
            <a:spLocks/>
          </p:cNvSpPr>
          <p:nvPr/>
        </p:nvSpPr>
        <p:spPr bwMode="auto">
          <a:xfrm>
            <a:off x="6538968" y="5298572"/>
            <a:ext cx="378309" cy="187281"/>
          </a:xfrm>
          <a:custGeom>
            <a:avLst/>
            <a:gdLst>
              <a:gd name="T0" fmla="*/ 0 w 406"/>
              <a:gd name="T1" fmla="*/ 116 h 204"/>
              <a:gd name="T2" fmla="*/ 406 w 406"/>
              <a:gd name="T3" fmla="*/ 0 h 204"/>
              <a:gd name="T4" fmla="*/ 397 w 406"/>
              <a:gd name="T5" fmla="*/ 37 h 204"/>
              <a:gd name="T6" fmla="*/ 390 w 406"/>
              <a:gd name="T7" fmla="*/ 69 h 204"/>
              <a:gd name="T8" fmla="*/ 383 w 406"/>
              <a:gd name="T9" fmla="*/ 97 h 204"/>
              <a:gd name="T10" fmla="*/ 377 w 406"/>
              <a:gd name="T11" fmla="*/ 123 h 204"/>
              <a:gd name="T12" fmla="*/ 97 w 406"/>
              <a:gd name="T13" fmla="*/ 204 h 204"/>
              <a:gd name="T14" fmla="*/ 74 w 406"/>
              <a:gd name="T15" fmla="*/ 181 h 204"/>
              <a:gd name="T16" fmla="*/ 51 w 406"/>
              <a:gd name="T17" fmla="*/ 158 h 204"/>
              <a:gd name="T18" fmla="*/ 26 w 406"/>
              <a:gd name="T19" fmla="*/ 137 h 204"/>
              <a:gd name="T20" fmla="*/ 0 w 406"/>
              <a:gd name="T21" fmla="*/ 11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06" h="204">
                <a:moveTo>
                  <a:pt x="0" y="116"/>
                </a:moveTo>
                <a:lnTo>
                  <a:pt x="406" y="0"/>
                </a:lnTo>
                <a:lnTo>
                  <a:pt x="397" y="37"/>
                </a:lnTo>
                <a:lnTo>
                  <a:pt x="390" y="69"/>
                </a:lnTo>
                <a:lnTo>
                  <a:pt x="383" y="97"/>
                </a:lnTo>
                <a:lnTo>
                  <a:pt x="377" y="123"/>
                </a:lnTo>
                <a:lnTo>
                  <a:pt x="97" y="204"/>
                </a:lnTo>
                <a:lnTo>
                  <a:pt x="74" y="181"/>
                </a:lnTo>
                <a:lnTo>
                  <a:pt x="51" y="158"/>
                </a:lnTo>
                <a:lnTo>
                  <a:pt x="26" y="137"/>
                </a:lnTo>
                <a:lnTo>
                  <a:pt x="0" y="11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Freeform 42"/>
          <p:cNvSpPr>
            <a:spLocks/>
          </p:cNvSpPr>
          <p:nvPr/>
        </p:nvSpPr>
        <p:spPr bwMode="auto">
          <a:xfrm>
            <a:off x="6587663" y="5354757"/>
            <a:ext cx="318379" cy="172299"/>
          </a:xfrm>
          <a:custGeom>
            <a:avLst/>
            <a:gdLst>
              <a:gd name="T0" fmla="*/ 0 w 341"/>
              <a:gd name="T1" fmla="*/ 97 h 186"/>
              <a:gd name="T2" fmla="*/ 341 w 341"/>
              <a:gd name="T3" fmla="*/ 0 h 186"/>
              <a:gd name="T4" fmla="*/ 331 w 341"/>
              <a:gd name="T5" fmla="*/ 37 h 186"/>
              <a:gd name="T6" fmla="*/ 324 w 341"/>
              <a:gd name="T7" fmla="*/ 71 h 186"/>
              <a:gd name="T8" fmla="*/ 317 w 341"/>
              <a:gd name="T9" fmla="*/ 99 h 186"/>
              <a:gd name="T10" fmla="*/ 313 w 341"/>
              <a:gd name="T11" fmla="*/ 122 h 186"/>
              <a:gd name="T12" fmla="*/ 89 w 341"/>
              <a:gd name="T13" fmla="*/ 186 h 186"/>
              <a:gd name="T14" fmla="*/ 68 w 341"/>
              <a:gd name="T15" fmla="*/ 163 h 186"/>
              <a:gd name="T16" fmla="*/ 46 w 341"/>
              <a:gd name="T17" fmla="*/ 141 h 186"/>
              <a:gd name="T18" fmla="*/ 23 w 341"/>
              <a:gd name="T19" fmla="*/ 118 h 186"/>
              <a:gd name="T20" fmla="*/ 0 w 341"/>
              <a:gd name="T21" fmla="*/ 97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41" h="186">
                <a:moveTo>
                  <a:pt x="0" y="97"/>
                </a:moveTo>
                <a:lnTo>
                  <a:pt x="341" y="0"/>
                </a:lnTo>
                <a:lnTo>
                  <a:pt x="331" y="37"/>
                </a:lnTo>
                <a:lnTo>
                  <a:pt x="324" y="71"/>
                </a:lnTo>
                <a:lnTo>
                  <a:pt x="317" y="99"/>
                </a:lnTo>
                <a:lnTo>
                  <a:pt x="313" y="122"/>
                </a:lnTo>
                <a:lnTo>
                  <a:pt x="89" y="186"/>
                </a:lnTo>
                <a:lnTo>
                  <a:pt x="68" y="163"/>
                </a:lnTo>
                <a:lnTo>
                  <a:pt x="46" y="141"/>
                </a:lnTo>
                <a:lnTo>
                  <a:pt x="23" y="118"/>
                </a:lnTo>
                <a:lnTo>
                  <a:pt x="0" y="9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Freeform 52"/>
          <p:cNvSpPr>
            <a:spLocks/>
          </p:cNvSpPr>
          <p:nvPr/>
        </p:nvSpPr>
        <p:spPr bwMode="auto">
          <a:xfrm>
            <a:off x="6231828" y="3755376"/>
            <a:ext cx="1108704" cy="782836"/>
          </a:xfrm>
          <a:custGeom>
            <a:avLst/>
            <a:gdLst>
              <a:gd name="T0" fmla="*/ 826 w 1184"/>
              <a:gd name="T1" fmla="*/ 586 h 834"/>
              <a:gd name="T2" fmla="*/ 795 w 1184"/>
              <a:gd name="T3" fmla="*/ 645 h 834"/>
              <a:gd name="T4" fmla="*/ 751 w 1184"/>
              <a:gd name="T5" fmla="*/ 693 h 834"/>
              <a:gd name="T6" fmla="*/ 695 w 1184"/>
              <a:gd name="T7" fmla="*/ 730 h 834"/>
              <a:gd name="T8" fmla="*/ 630 w 1184"/>
              <a:gd name="T9" fmla="*/ 752 h 834"/>
              <a:gd name="T10" fmla="*/ 369 w 1184"/>
              <a:gd name="T11" fmla="*/ 756 h 834"/>
              <a:gd name="T12" fmla="*/ 306 w 1184"/>
              <a:gd name="T13" fmla="*/ 778 h 834"/>
              <a:gd name="T14" fmla="*/ 199 w 1184"/>
              <a:gd name="T15" fmla="*/ 829 h 834"/>
              <a:gd name="T16" fmla="*/ 182 w 1184"/>
              <a:gd name="T17" fmla="*/ 834 h 834"/>
              <a:gd name="T18" fmla="*/ 168 w 1184"/>
              <a:gd name="T19" fmla="*/ 827 h 834"/>
              <a:gd name="T20" fmla="*/ 150 w 1184"/>
              <a:gd name="T21" fmla="*/ 788 h 834"/>
              <a:gd name="T22" fmla="*/ 113 w 1184"/>
              <a:gd name="T23" fmla="*/ 703 h 834"/>
              <a:gd name="T24" fmla="*/ 93 w 1184"/>
              <a:gd name="T25" fmla="*/ 681 h 834"/>
              <a:gd name="T26" fmla="*/ 73 w 1184"/>
              <a:gd name="T27" fmla="*/ 657 h 834"/>
              <a:gd name="T28" fmla="*/ 53 w 1184"/>
              <a:gd name="T29" fmla="*/ 622 h 834"/>
              <a:gd name="T30" fmla="*/ 22 w 1184"/>
              <a:gd name="T31" fmla="*/ 581 h 834"/>
              <a:gd name="T32" fmla="*/ 7 w 1184"/>
              <a:gd name="T33" fmla="*/ 527 h 834"/>
              <a:gd name="T34" fmla="*/ 0 w 1184"/>
              <a:gd name="T35" fmla="*/ 451 h 834"/>
              <a:gd name="T36" fmla="*/ 2 w 1184"/>
              <a:gd name="T37" fmla="*/ 400 h 834"/>
              <a:gd name="T38" fmla="*/ 10 w 1184"/>
              <a:gd name="T39" fmla="*/ 363 h 834"/>
              <a:gd name="T40" fmla="*/ 26 w 1184"/>
              <a:gd name="T41" fmla="*/ 330 h 834"/>
              <a:gd name="T42" fmla="*/ 63 w 1184"/>
              <a:gd name="T43" fmla="*/ 255 h 834"/>
              <a:gd name="T44" fmla="*/ 102 w 1184"/>
              <a:gd name="T45" fmla="*/ 166 h 834"/>
              <a:gd name="T46" fmla="*/ 126 w 1184"/>
              <a:gd name="T47" fmla="*/ 129 h 834"/>
              <a:gd name="T48" fmla="*/ 151 w 1184"/>
              <a:gd name="T49" fmla="*/ 102 h 834"/>
              <a:gd name="T50" fmla="*/ 176 w 1184"/>
              <a:gd name="T51" fmla="*/ 86 h 834"/>
              <a:gd name="T52" fmla="*/ 201 w 1184"/>
              <a:gd name="T53" fmla="*/ 76 h 834"/>
              <a:gd name="T54" fmla="*/ 254 w 1184"/>
              <a:gd name="T55" fmla="*/ 72 h 834"/>
              <a:gd name="T56" fmla="*/ 327 w 1184"/>
              <a:gd name="T57" fmla="*/ 79 h 834"/>
              <a:gd name="T58" fmla="*/ 348 w 1184"/>
              <a:gd name="T59" fmla="*/ 76 h 834"/>
              <a:gd name="T60" fmla="*/ 353 w 1184"/>
              <a:gd name="T61" fmla="*/ 67 h 834"/>
              <a:gd name="T62" fmla="*/ 368 w 1184"/>
              <a:gd name="T63" fmla="*/ 42 h 834"/>
              <a:gd name="T64" fmla="*/ 402 w 1184"/>
              <a:gd name="T65" fmla="*/ 23 h 834"/>
              <a:gd name="T66" fmla="*/ 450 w 1184"/>
              <a:gd name="T67" fmla="*/ 12 h 834"/>
              <a:gd name="T68" fmla="*/ 509 w 1184"/>
              <a:gd name="T69" fmla="*/ 4 h 834"/>
              <a:gd name="T70" fmla="*/ 644 w 1184"/>
              <a:gd name="T71" fmla="*/ 0 h 834"/>
              <a:gd name="T72" fmla="*/ 778 w 1184"/>
              <a:gd name="T73" fmla="*/ 4 h 834"/>
              <a:gd name="T74" fmla="*/ 921 w 1184"/>
              <a:gd name="T75" fmla="*/ 9 h 834"/>
              <a:gd name="T76" fmla="*/ 968 w 1184"/>
              <a:gd name="T77" fmla="*/ 13 h 834"/>
              <a:gd name="T78" fmla="*/ 1009 w 1184"/>
              <a:gd name="T79" fmla="*/ 22 h 834"/>
              <a:gd name="T80" fmla="*/ 1047 w 1184"/>
              <a:gd name="T81" fmla="*/ 38 h 834"/>
              <a:gd name="T82" fmla="*/ 1082 w 1184"/>
              <a:gd name="T83" fmla="*/ 63 h 834"/>
              <a:gd name="T84" fmla="*/ 1116 w 1184"/>
              <a:gd name="T85" fmla="*/ 97 h 834"/>
              <a:gd name="T86" fmla="*/ 1147 w 1184"/>
              <a:gd name="T87" fmla="*/ 135 h 834"/>
              <a:gd name="T88" fmla="*/ 1169 w 1184"/>
              <a:gd name="T89" fmla="*/ 177 h 834"/>
              <a:gd name="T90" fmla="*/ 1182 w 1184"/>
              <a:gd name="T91" fmla="*/ 222 h 834"/>
              <a:gd name="T92" fmla="*/ 1183 w 1184"/>
              <a:gd name="T93" fmla="*/ 270 h 834"/>
              <a:gd name="T94" fmla="*/ 1173 w 1184"/>
              <a:gd name="T95" fmla="*/ 318 h 834"/>
              <a:gd name="T96" fmla="*/ 1145 w 1184"/>
              <a:gd name="T97" fmla="*/ 358 h 834"/>
              <a:gd name="T98" fmla="*/ 1103 w 1184"/>
              <a:gd name="T99" fmla="*/ 394 h 834"/>
              <a:gd name="T100" fmla="*/ 1033 w 1184"/>
              <a:gd name="T101" fmla="*/ 439 h 834"/>
              <a:gd name="T102" fmla="*/ 946 w 1184"/>
              <a:gd name="T103" fmla="*/ 485 h 834"/>
              <a:gd name="T104" fmla="*/ 889 w 1184"/>
              <a:gd name="T105" fmla="*/ 517 h 834"/>
              <a:gd name="T106" fmla="*/ 861 w 1184"/>
              <a:gd name="T107" fmla="*/ 527 h 834"/>
              <a:gd name="T108" fmla="*/ 838 w 1184"/>
              <a:gd name="T109" fmla="*/ 542 h 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84" h="834">
                <a:moveTo>
                  <a:pt x="838" y="542"/>
                </a:moveTo>
                <a:lnTo>
                  <a:pt x="833" y="564"/>
                </a:lnTo>
                <a:lnTo>
                  <a:pt x="826" y="586"/>
                </a:lnTo>
                <a:lnTo>
                  <a:pt x="818" y="606"/>
                </a:lnTo>
                <a:lnTo>
                  <a:pt x="807" y="626"/>
                </a:lnTo>
                <a:lnTo>
                  <a:pt x="795" y="645"/>
                </a:lnTo>
                <a:lnTo>
                  <a:pt x="781" y="662"/>
                </a:lnTo>
                <a:lnTo>
                  <a:pt x="767" y="678"/>
                </a:lnTo>
                <a:lnTo>
                  <a:pt x="751" y="693"/>
                </a:lnTo>
                <a:lnTo>
                  <a:pt x="733" y="707"/>
                </a:lnTo>
                <a:lnTo>
                  <a:pt x="714" y="719"/>
                </a:lnTo>
                <a:lnTo>
                  <a:pt x="695" y="730"/>
                </a:lnTo>
                <a:lnTo>
                  <a:pt x="675" y="739"/>
                </a:lnTo>
                <a:lnTo>
                  <a:pt x="653" y="746"/>
                </a:lnTo>
                <a:lnTo>
                  <a:pt x="630" y="752"/>
                </a:lnTo>
                <a:lnTo>
                  <a:pt x="608" y="755"/>
                </a:lnTo>
                <a:lnTo>
                  <a:pt x="584" y="756"/>
                </a:lnTo>
                <a:lnTo>
                  <a:pt x="369" y="756"/>
                </a:lnTo>
                <a:lnTo>
                  <a:pt x="361" y="755"/>
                </a:lnTo>
                <a:lnTo>
                  <a:pt x="352" y="755"/>
                </a:lnTo>
                <a:lnTo>
                  <a:pt x="306" y="778"/>
                </a:lnTo>
                <a:lnTo>
                  <a:pt x="262" y="801"/>
                </a:lnTo>
                <a:lnTo>
                  <a:pt x="225" y="818"/>
                </a:lnTo>
                <a:lnTo>
                  <a:pt x="199" y="829"/>
                </a:lnTo>
                <a:lnTo>
                  <a:pt x="193" y="832"/>
                </a:lnTo>
                <a:lnTo>
                  <a:pt x="186" y="834"/>
                </a:lnTo>
                <a:lnTo>
                  <a:pt x="182" y="834"/>
                </a:lnTo>
                <a:lnTo>
                  <a:pt x="177" y="833"/>
                </a:lnTo>
                <a:lnTo>
                  <a:pt x="172" y="830"/>
                </a:lnTo>
                <a:lnTo>
                  <a:pt x="168" y="827"/>
                </a:lnTo>
                <a:lnTo>
                  <a:pt x="165" y="821"/>
                </a:lnTo>
                <a:lnTo>
                  <a:pt x="160" y="816"/>
                </a:lnTo>
                <a:lnTo>
                  <a:pt x="150" y="788"/>
                </a:lnTo>
                <a:lnTo>
                  <a:pt x="138" y="758"/>
                </a:lnTo>
                <a:lnTo>
                  <a:pt x="124" y="724"/>
                </a:lnTo>
                <a:lnTo>
                  <a:pt x="113" y="703"/>
                </a:lnTo>
                <a:lnTo>
                  <a:pt x="106" y="692"/>
                </a:lnTo>
                <a:lnTo>
                  <a:pt x="99" y="686"/>
                </a:lnTo>
                <a:lnTo>
                  <a:pt x="93" y="681"/>
                </a:lnTo>
                <a:lnTo>
                  <a:pt x="85" y="672"/>
                </a:lnTo>
                <a:lnTo>
                  <a:pt x="80" y="665"/>
                </a:lnTo>
                <a:lnTo>
                  <a:pt x="73" y="657"/>
                </a:lnTo>
                <a:lnTo>
                  <a:pt x="66" y="645"/>
                </a:lnTo>
                <a:lnTo>
                  <a:pt x="57" y="629"/>
                </a:lnTo>
                <a:lnTo>
                  <a:pt x="53" y="622"/>
                </a:lnTo>
                <a:lnTo>
                  <a:pt x="41" y="605"/>
                </a:lnTo>
                <a:lnTo>
                  <a:pt x="28" y="590"/>
                </a:lnTo>
                <a:lnTo>
                  <a:pt x="22" y="581"/>
                </a:lnTo>
                <a:lnTo>
                  <a:pt x="16" y="568"/>
                </a:lnTo>
                <a:lnTo>
                  <a:pt x="11" y="549"/>
                </a:lnTo>
                <a:lnTo>
                  <a:pt x="7" y="527"/>
                </a:lnTo>
                <a:lnTo>
                  <a:pt x="5" y="502"/>
                </a:lnTo>
                <a:lnTo>
                  <a:pt x="1" y="477"/>
                </a:lnTo>
                <a:lnTo>
                  <a:pt x="0" y="451"/>
                </a:lnTo>
                <a:lnTo>
                  <a:pt x="0" y="426"/>
                </a:lnTo>
                <a:lnTo>
                  <a:pt x="0" y="413"/>
                </a:lnTo>
                <a:lnTo>
                  <a:pt x="2" y="400"/>
                </a:lnTo>
                <a:lnTo>
                  <a:pt x="5" y="387"/>
                </a:lnTo>
                <a:lnTo>
                  <a:pt x="7" y="375"/>
                </a:lnTo>
                <a:lnTo>
                  <a:pt x="10" y="363"/>
                </a:lnTo>
                <a:lnTo>
                  <a:pt x="14" y="351"/>
                </a:lnTo>
                <a:lnTo>
                  <a:pt x="20" y="340"/>
                </a:lnTo>
                <a:lnTo>
                  <a:pt x="26" y="330"/>
                </a:lnTo>
                <a:lnTo>
                  <a:pt x="38" y="308"/>
                </a:lnTo>
                <a:lnTo>
                  <a:pt x="51" y="283"/>
                </a:lnTo>
                <a:lnTo>
                  <a:pt x="63" y="255"/>
                </a:lnTo>
                <a:lnTo>
                  <a:pt x="76" y="225"/>
                </a:lnTo>
                <a:lnTo>
                  <a:pt x="88" y="195"/>
                </a:lnTo>
                <a:lnTo>
                  <a:pt x="102" y="166"/>
                </a:lnTo>
                <a:lnTo>
                  <a:pt x="110" y="154"/>
                </a:lnTo>
                <a:lnTo>
                  <a:pt x="117" y="141"/>
                </a:lnTo>
                <a:lnTo>
                  <a:pt x="126" y="129"/>
                </a:lnTo>
                <a:lnTo>
                  <a:pt x="135" y="118"/>
                </a:lnTo>
                <a:lnTo>
                  <a:pt x="142" y="109"/>
                </a:lnTo>
                <a:lnTo>
                  <a:pt x="151" y="102"/>
                </a:lnTo>
                <a:lnTo>
                  <a:pt x="158" y="95"/>
                </a:lnTo>
                <a:lnTo>
                  <a:pt x="167" y="90"/>
                </a:lnTo>
                <a:lnTo>
                  <a:pt x="176" y="86"/>
                </a:lnTo>
                <a:lnTo>
                  <a:pt x="184" y="83"/>
                </a:lnTo>
                <a:lnTo>
                  <a:pt x="193" y="79"/>
                </a:lnTo>
                <a:lnTo>
                  <a:pt x="201" y="76"/>
                </a:lnTo>
                <a:lnTo>
                  <a:pt x="220" y="73"/>
                </a:lnTo>
                <a:lnTo>
                  <a:pt x="237" y="72"/>
                </a:lnTo>
                <a:lnTo>
                  <a:pt x="254" y="72"/>
                </a:lnTo>
                <a:lnTo>
                  <a:pt x="271" y="73"/>
                </a:lnTo>
                <a:lnTo>
                  <a:pt x="301" y="76"/>
                </a:lnTo>
                <a:lnTo>
                  <a:pt x="327" y="79"/>
                </a:lnTo>
                <a:lnTo>
                  <a:pt x="337" y="79"/>
                </a:lnTo>
                <a:lnTo>
                  <a:pt x="344" y="77"/>
                </a:lnTo>
                <a:lnTo>
                  <a:pt x="348" y="76"/>
                </a:lnTo>
                <a:lnTo>
                  <a:pt x="350" y="74"/>
                </a:lnTo>
                <a:lnTo>
                  <a:pt x="352" y="71"/>
                </a:lnTo>
                <a:lnTo>
                  <a:pt x="353" y="67"/>
                </a:lnTo>
                <a:lnTo>
                  <a:pt x="356" y="58"/>
                </a:lnTo>
                <a:lnTo>
                  <a:pt x="361" y="49"/>
                </a:lnTo>
                <a:lnTo>
                  <a:pt x="368" y="42"/>
                </a:lnTo>
                <a:lnTo>
                  <a:pt x="378" y="35"/>
                </a:lnTo>
                <a:lnTo>
                  <a:pt x="390" y="29"/>
                </a:lnTo>
                <a:lnTo>
                  <a:pt x="402" y="23"/>
                </a:lnTo>
                <a:lnTo>
                  <a:pt x="416" y="19"/>
                </a:lnTo>
                <a:lnTo>
                  <a:pt x="433" y="15"/>
                </a:lnTo>
                <a:lnTo>
                  <a:pt x="450" y="12"/>
                </a:lnTo>
                <a:lnTo>
                  <a:pt x="469" y="8"/>
                </a:lnTo>
                <a:lnTo>
                  <a:pt x="488" y="6"/>
                </a:lnTo>
                <a:lnTo>
                  <a:pt x="509" y="4"/>
                </a:lnTo>
                <a:lnTo>
                  <a:pt x="553" y="1"/>
                </a:lnTo>
                <a:lnTo>
                  <a:pt x="598" y="0"/>
                </a:lnTo>
                <a:lnTo>
                  <a:pt x="644" y="0"/>
                </a:lnTo>
                <a:lnTo>
                  <a:pt x="691" y="1"/>
                </a:lnTo>
                <a:lnTo>
                  <a:pt x="736" y="2"/>
                </a:lnTo>
                <a:lnTo>
                  <a:pt x="778" y="4"/>
                </a:lnTo>
                <a:lnTo>
                  <a:pt x="852" y="7"/>
                </a:lnTo>
                <a:lnTo>
                  <a:pt x="903" y="8"/>
                </a:lnTo>
                <a:lnTo>
                  <a:pt x="921" y="9"/>
                </a:lnTo>
                <a:lnTo>
                  <a:pt x="937" y="9"/>
                </a:lnTo>
                <a:lnTo>
                  <a:pt x="953" y="10"/>
                </a:lnTo>
                <a:lnTo>
                  <a:pt x="968" y="13"/>
                </a:lnTo>
                <a:lnTo>
                  <a:pt x="982" y="15"/>
                </a:lnTo>
                <a:lnTo>
                  <a:pt x="996" y="18"/>
                </a:lnTo>
                <a:lnTo>
                  <a:pt x="1009" y="22"/>
                </a:lnTo>
                <a:lnTo>
                  <a:pt x="1022" y="27"/>
                </a:lnTo>
                <a:lnTo>
                  <a:pt x="1035" y="33"/>
                </a:lnTo>
                <a:lnTo>
                  <a:pt x="1047" y="38"/>
                </a:lnTo>
                <a:lnTo>
                  <a:pt x="1059" y="46"/>
                </a:lnTo>
                <a:lnTo>
                  <a:pt x="1070" y="55"/>
                </a:lnTo>
                <a:lnTo>
                  <a:pt x="1082" y="63"/>
                </a:lnTo>
                <a:lnTo>
                  <a:pt x="1093" y="73"/>
                </a:lnTo>
                <a:lnTo>
                  <a:pt x="1105" y="84"/>
                </a:lnTo>
                <a:lnTo>
                  <a:pt x="1116" y="97"/>
                </a:lnTo>
                <a:lnTo>
                  <a:pt x="1127" y="108"/>
                </a:lnTo>
                <a:lnTo>
                  <a:pt x="1137" y="121"/>
                </a:lnTo>
                <a:lnTo>
                  <a:pt x="1147" y="135"/>
                </a:lnTo>
                <a:lnTo>
                  <a:pt x="1155" y="148"/>
                </a:lnTo>
                <a:lnTo>
                  <a:pt x="1163" y="163"/>
                </a:lnTo>
                <a:lnTo>
                  <a:pt x="1169" y="177"/>
                </a:lnTo>
                <a:lnTo>
                  <a:pt x="1175" y="192"/>
                </a:lnTo>
                <a:lnTo>
                  <a:pt x="1179" y="207"/>
                </a:lnTo>
                <a:lnTo>
                  <a:pt x="1182" y="222"/>
                </a:lnTo>
                <a:lnTo>
                  <a:pt x="1184" y="237"/>
                </a:lnTo>
                <a:lnTo>
                  <a:pt x="1184" y="254"/>
                </a:lnTo>
                <a:lnTo>
                  <a:pt x="1183" y="270"/>
                </a:lnTo>
                <a:lnTo>
                  <a:pt x="1181" y="286"/>
                </a:lnTo>
                <a:lnTo>
                  <a:pt x="1178" y="302"/>
                </a:lnTo>
                <a:lnTo>
                  <a:pt x="1173" y="318"/>
                </a:lnTo>
                <a:lnTo>
                  <a:pt x="1166" y="334"/>
                </a:lnTo>
                <a:lnTo>
                  <a:pt x="1156" y="346"/>
                </a:lnTo>
                <a:lnTo>
                  <a:pt x="1145" y="358"/>
                </a:lnTo>
                <a:lnTo>
                  <a:pt x="1131" y="372"/>
                </a:lnTo>
                <a:lnTo>
                  <a:pt x="1117" y="384"/>
                </a:lnTo>
                <a:lnTo>
                  <a:pt x="1103" y="394"/>
                </a:lnTo>
                <a:lnTo>
                  <a:pt x="1090" y="405"/>
                </a:lnTo>
                <a:lnTo>
                  <a:pt x="1062" y="423"/>
                </a:lnTo>
                <a:lnTo>
                  <a:pt x="1033" y="439"/>
                </a:lnTo>
                <a:lnTo>
                  <a:pt x="1005" y="454"/>
                </a:lnTo>
                <a:lnTo>
                  <a:pt x="976" y="469"/>
                </a:lnTo>
                <a:lnTo>
                  <a:pt x="946" y="485"/>
                </a:lnTo>
                <a:lnTo>
                  <a:pt x="914" y="503"/>
                </a:lnTo>
                <a:lnTo>
                  <a:pt x="900" y="511"/>
                </a:lnTo>
                <a:lnTo>
                  <a:pt x="889" y="517"/>
                </a:lnTo>
                <a:lnTo>
                  <a:pt x="878" y="520"/>
                </a:lnTo>
                <a:lnTo>
                  <a:pt x="869" y="524"/>
                </a:lnTo>
                <a:lnTo>
                  <a:pt x="861" y="527"/>
                </a:lnTo>
                <a:lnTo>
                  <a:pt x="852" y="530"/>
                </a:lnTo>
                <a:lnTo>
                  <a:pt x="844" y="535"/>
                </a:lnTo>
                <a:lnTo>
                  <a:pt x="838" y="542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53"/>
          <p:cNvSpPr>
            <a:spLocks noChangeArrowheads="1"/>
          </p:cNvSpPr>
          <p:nvPr/>
        </p:nvSpPr>
        <p:spPr bwMode="auto">
          <a:xfrm>
            <a:off x="6722505" y="3935166"/>
            <a:ext cx="82404" cy="3033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Rectangle 54"/>
          <p:cNvSpPr>
            <a:spLocks noChangeArrowheads="1"/>
          </p:cNvSpPr>
          <p:nvPr/>
        </p:nvSpPr>
        <p:spPr bwMode="auto">
          <a:xfrm>
            <a:off x="6722505" y="3935166"/>
            <a:ext cx="82404" cy="303396"/>
          </a:xfrm>
          <a:prstGeom prst="rect">
            <a:avLst/>
          </a:prstGeom>
          <a:solidFill>
            <a:schemeClr val="bg1"/>
          </a:solidFill>
          <a:ln w="4">
            <a:solidFill>
              <a:srgbClr val="1F1A17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55"/>
          <p:cNvSpPr>
            <a:spLocks noChangeArrowheads="1"/>
          </p:cNvSpPr>
          <p:nvPr/>
        </p:nvSpPr>
        <p:spPr bwMode="auto">
          <a:xfrm>
            <a:off x="6849856" y="3871492"/>
            <a:ext cx="78659" cy="3670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Rectangle 56"/>
          <p:cNvSpPr>
            <a:spLocks noChangeArrowheads="1"/>
          </p:cNvSpPr>
          <p:nvPr/>
        </p:nvSpPr>
        <p:spPr bwMode="auto">
          <a:xfrm>
            <a:off x="6849856" y="3871492"/>
            <a:ext cx="78659" cy="367071"/>
          </a:xfrm>
          <a:prstGeom prst="rect">
            <a:avLst/>
          </a:prstGeom>
          <a:solidFill>
            <a:schemeClr val="bg1"/>
          </a:solidFill>
          <a:ln w="4">
            <a:solidFill>
              <a:srgbClr val="1F1A17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42" name="Group 341"/>
          <p:cNvGrpSpPr/>
          <p:nvPr/>
        </p:nvGrpSpPr>
        <p:grpSpPr>
          <a:xfrm>
            <a:off x="6999362" y="185040"/>
            <a:ext cx="1369059" cy="1634133"/>
            <a:chOff x="681494" y="3925437"/>
            <a:chExt cx="1369059" cy="1634133"/>
          </a:xfrm>
        </p:grpSpPr>
        <p:sp>
          <p:nvSpPr>
            <p:cNvPr id="344" name="Freeform 540"/>
            <p:cNvSpPr>
              <a:spLocks/>
            </p:cNvSpPr>
            <p:nvPr/>
          </p:nvSpPr>
          <p:spPr bwMode="auto">
            <a:xfrm>
              <a:off x="710623" y="3925437"/>
              <a:ext cx="731137" cy="221380"/>
            </a:xfrm>
            <a:custGeom>
              <a:avLst/>
              <a:gdLst>
                <a:gd name="T0" fmla="*/ 105 w 1004"/>
                <a:gd name="T1" fmla="*/ 161 h 305"/>
                <a:gd name="T2" fmla="*/ 663 w 1004"/>
                <a:gd name="T3" fmla="*/ 1 h 305"/>
                <a:gd name="T4" fmla="*/ 706 w 1004"/>
                <a:gd name="T5" fmla="*/ 0 h 305"/>
                <a:gd name="T6" fmla="*/ 749 w 1004"/>
                <a:gd name="T7" fmla="*/ 0 h 305"/>
                <a:gd name="T8" fmla="*/ 793 w 1004"/>
                <a:gd name="T9" fmla="*/ 0 h 305"/>
                <a:gd name="T10" fmla="*/ 836 w 1004"/>
                <a:gd name="T11" fmla="*/ 3 h 305"/>
                <a:gd name="T12" fmla="*/ 880 w 1004"/>
                <a:gd name="T13" fmla="*/ 5 h 305"/>
                <a:gd name="T14" fmla="*/ 922 w 1004"/>
                <a:gd name="T15" fmla="*/ 8 h 305"/>
                <a:gd name="T16" fmla="*/ 964 w 1004"/>
                <a:gd name="T17" fmla="*/ 12 h 305"/>
                <a:gd name="T18" fmla="*/ 1004 w 1004"/>
                <a:gd name="T19" fmla="*/ 18 h 305"/>
                <a:gd name="T20" fmla="*/ 0 w 1004"/>
                <a:gd name="T21" fmla="*/ 305 h 305"/>
                <a:gd name="T22" fmla="*/ 10 w 1004"/>
                <a:gd name="T23" fmla="*/ 280 h 305"/>
                <a:gd name="T24" fmla="*/ 21 w 1004"/>
                <a:gd name="T25" fmla="*/ 257 h 305"/>
                <a:gd name="T26" fmla="*/ 31 w 1004"/>
                <a:gd name="T27" fmla="*/ 237 h 305"/>
                <a:gd name="T28" fmla="*/ 43 w 1004"/>
                <a:gd name="T29" fmla="*/ 219 h 305"/>
                <a:gd name="T30" fmla="*/ 57 w 1004"/>
                <a:gd name="T31" fmla="*/ 203 h 305"/>
                <a:gd name="T32" fmla="*/ 71 w 1004"/>
                <a:gd name="T33" fmla="*/ 188 h 305"/>
                <a:gd name="T34" fmla="*/ 87 w 1004"/>
                <a:gd name="T35" fmla="*/ 174 h 305"/>
                <a:gd name="T36" fmla="*/ 105 w 1004"/>
                <a:gd name="T37" fmla="*/ 161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04" h="305">
                  <a:moveTo>
                    <a:pt x="105" y="161"/>
                  </a:moveTo>
                  <a:lnTo>
                    <a:pt x="663" y="1"/>
                  </a:lnTo>
                  <a:lnTo>
                    <a:pt x="706" y="0"/>
                  </a:lnTo>
                  <a:lnTo>
                    <a:pt x="749" y="0"/>
                  </a:lnTo>
                  <a:lnTo>
                    <a:pt x="793" y="0"/>
                  </a:lnTo>
                  <a:lnTo>
                    <a:pt x="836" y="3"/>
                  </a:lnTo>
                  <a:lnTo>
                    <a:pt x="880" y="5"/>
                  </a:lnTo>
                  <a:lnTo>
                    <a:pt x="922" y="8"/>
                  </a:lnTo>
                  <a:lnTo>
                    <a:pt x="964" y="12"/>
                  </a:lnTo>
                  <a:lnTo>
                    <a:pt x="1004" y="18"/>
                  </a:lnTo>
                  <a:lnTo>
                    <a:pt x="0" y="305"/>
                  </a:lnTo>
                  <a:lnTo>
                    <a:pt x="10" y="280"/>
                  </a:lnTo>
                  <a:lnTo>
                    <a:pt x="21" y="257"/>
                  </a:lnTo>
                  <a:lnTo>
                    <a:pt x="31" y="237"/>
                  </a:lnTo>
                  <a:lnTo>
                    <a:pt x="43" y="219"/>
                  </a:lnTo>
                  <a:lnTo>
                    <a:pt x="57" y="203"/>
                  </a:lnTo>
                  <a:lnTo>
                    <a:pt x="71" y="188"/>
                  </a:lnTo>
                  <a:lnTo>
                    <a:pt x="87" y="174"/>
                  </a:lnTo>
                  <a:lnTo>
                    <a:pt x="105" y="16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Freeform 541"/>
            <p:cNvSpPr>
              <a:spLocks/>
            </p:cNvSpPr>
            <p:nvPr/>
          </p:nvSpPr>
          <p:spPr bwMode="auto">
            <a:xfrm>
              <a:off x="698971" y="3925437"/>
              <a:ext cx="830175" cy="265074"/>
            </a:xfrm>
            <a:custGeom>
              <a:avLst/>
              <a:gdLst>
                <a:gd name="T0" fmla="*/ 47 w 1140"/>
                <a:gd name="T1" fmla="*/ 235 h 363"/>
                <a:gd name="T2" fmla="*/ 871 w 1140"/>
                <a:gd name="T3" fmla="*/ 0 h 363"/>
                <a:gd name="T4" fmla="*/ 908 w 1140"/>
                <a:gd name="T5" fmla="*/ 2 h 363"/>
                <a:gd name="T6" fmla="*/ 944 w 1140"/>
                <a:gd name="T7" fmla="*/ 5 h 363"/>
                <a:gd name="T8" fmla="*/ 979 w 1140"/>
                <a:gd name="T9" fmla="*/ 8 h 363"/>
                <a:gd name="T10" fmla="*/ 1014 w 1140"/>
                <a:gd name="T11" fmla="*/ 13 h 363"/>
                <a:gd name="T12" fmla="*/ 1048 w 1140"/>
                <a:gd name="T13" fmla="*/ 18 h 363"/>
                <a:gd name="T14" fmla="*/ 1080 w 1140"/>
                <a:gd name="T15" fmla="*/ 23 h 363"/>
                <a:gd name="T16" fmla="*/ 1110 w 1140"/>
                <a:gd name="T17" fmla="*/ 30 h 363"/>
                <a:gd name="T18" fmla="*/ 1140 w 1140"/>
                <a:gd name="T19" fmla="*/ 37 h 363"/>
                <a:gd name="T20" fmla="*/ 0 w 1140"/>
                <a:gd name="T21" fmla="*/ 363 h 363"/>
                <a:gd name="T22" fmla="*/ 2 w 1140"/>
                <a:gd name="T23" fmla="*/ 351 h 363"/>
                <a:gd name="T24" fmla="*/ 5 w 1140"/>
                <a:gd name="T25" fmla="*/ 341 h 363"/>
                <a:gd name="T26" fmla="*/ 15 w 1140"/>
                <a:gd name="T27" fmla="*/ 309 h 363"/>
                <a:gd name="T28" fmla="*/ 25 w 1140"/>
                <a:gd name="T29" fmla="*/ 281 h 363"/>
                <a:gd name="T30" fmla="*/ 36 w 1140"/>
                <a:gd name="T31" fmla="*/ 257 h 363"/>
                <a:gd name="T32" fmla="*/ 47 w 1140"/>
                <a:gd name="T33" fmla="*/ 23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0" h="363">
                  <a:moveTo>
                    <a:pt x="47" y="235"/>
                  </a:moveTo>
                  <a:lnTo>
                    <a:pt x="871" y="0"/>
                  </a:lnTo>
                  <a:lnTo>
                    <a:pt x="908" y="2"/>
                  </a:lnTo>
                  <a:lnTo>
                    <a:pt x="944" y="5"/>
                  </a:lnTo>
                  <a:lnTo>
                    <a:pt x="979" y="8"/>
                  </a:lnTo>
                  <a:lnTo>
                    <a:pt x="1014" y="13"/>
                  </a:lnTo>
                  <a:lnTo>
                    <a:pt x="1048" y="18"/>
                  </a:lnTo>
                  <a:lnTo>
                    <a:pt x="1080" y="23"/>
                  </a:lnTo>
                  <a:lnTo>
                    <a:pt x="1110" y="30"/>
                  </a:lnTo>
                  <a:lnTo>
                    <a:pt x="1140" y="37"/>
                  </a:lnTo>
                  <a:lnTo>
                    <a:pt x="0" y="363"/>
                  </a:lnTo>
                  <a:lnTo>
                    <a:pt x="2" y="351"/>
                  </a:lnTo>
                  <a:lnTo>
                    <a:pt x="5" y="341"/>
                  </a:lnTo>
                  <a:lnTo>
                    <a:pt x="15" y="309"/>
                  </a:lnTo>
                  <a:lnTo>
                    <a:pt x="25" y="281"/>
                  </a:lnTo>
                  <a:lnTo>
                    <a:pt x="36" y="257"/>
                  </a:lnTo>
                  <a:lnTo>
                    <a:pt x="47" y="23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Freeform 542"/>
            <p:cNvSpPr>
              <a:spLocks/>
            </p:cNvSpPr>
            <p:nvPr/>
          </p:nvSpPr>
          <p:spPr bwMode="auto">
            <a:xfrm>
              <a:off x="690233" y="3937089"/>
              <a:ext cx="902996" cy="297115"/>
            </a:xfrm>
            <a:custGeom>
              <a:avLst/>
              <a:gdLst>
                <a:gd name="T0" fmla="*/ 29 w 1241"/>
                <a:gd name="T1" fmla="*/ 287 h 409"/>
                <a:gd name="T2" fmla="*/ 1033 w 1241"/>
                <a:gd name="T3" fmla="*/ 0 h 409"/>
                <a:gd name="T4" fmla="*/ 1064 w 1241"/>
                <a:gd name="T5" fmla="*/ 5 h 409"/>
                <a:gd name="T6" fmla="*/ 1093 w 1241"/>
                <a:gd name="T7" fmla="*/ 9 h 409"/>
                <a:gd name="T8" fmla="*/ 1122 w 1241"/>
                <a:gd name="T9" fmla="*/ 16 h 409"/>
                <a:gd name="T10" fmla="*/ 1149 w 1241"/>
                <a:gd name="T11" fmla="*/ 22 h 409"/>
                <a:gd name="T12" fmla="*/ 1175 w 1241"/>
                <a:gd name="T13" fmla="*/ 30 h 409"/>
                <a:gd name="T14" fmla="*/ 1198 w 1241"/>
                <a:gd name="T15" fmla="*/ 37 h 409"/>
                <a:gd name="T16" fmla="*/ 1221 w 1241"/>
                <a:gd name="T17" fmla="*/ 46 h 409"/>
                <a:gd name="T18" fmla="*/ 1241 w 1241"/>
                <a:gd name="T19" fmla="*/ 54 h 409"/>
                <a:gd name="T20" fmla="*/ 0 w 1241"/>
                <a:gd name="T21" fmla="*/ 409 h 409"/>
                <a:gd name="T22" fmla="*/ 3 w 1241"/>
                <a:gd name="T23" fmla="*/ 388 h 409"/>
                <a:gd name="T24" fmla="*/ 8 w 1241"/>
                <a:gd name="T25" fmla="*/ 367 h 409"/>
                <a:gd name="T26" fmla="*/ 12 w 1241"/>
                <a:gd name="T27" fmla="*/ 347 h 409"/>
                <a:gd name="T28" fmla="*/ 17 w 1241"/>
                <a:gd name="T29" fmla="*/ 327 h 409"/>
                <a:gd name="T30" fmla="*/ 21 w 1241"/>
                <a:gd name="T31" fmla="*/ 316 h 409"/>
                <a:gd name="T32" fmla="*/ 24 w 1241"/>
                <a:gd name="T33" fmla="*/ 306 h 409"/>
                <a:gd name="T34" fmla="*/ 26 w 1241"/>
                <a:gd name="T35" fmla="*/ 296 h 409"/>
                <a:gd name="T36" fmla="*/ 29 w 1241"/>
                <a:gd name="T37" fmla="*/ 287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41" h="409">
                  <a:moveTo>
                    <a:pt x="29" y="287"/>
                  </a:moveTo>
                  <a:lnTo>
                    <a:pt x="1033" y="0"/>
                  </a:lnTo>
                  <a:lnTo>
                    <a:pt x="1064" y="5"/>
                  </a:lnTo>
                  <a:lnTo>
                    <a:pt x="1093" y="9"/>
                  </a:lnTo>
                  <a:lnTo>
                    <a:pt x="1122" y="16"/>
                  </a:lnTo>
                  <a:lnTo>
                    <a:pt x="1149" y="22"/>
                  </a:lnTo>
                  <a:lnTo>
                    <a:pt x="1175" y="30"/>
                  </a:lnTo>
                  <a:lnTo>
                    <a:pt x="1198" y="37"/>
                  </a:lnTo>
                  <a:lnTo>
                    <a:pt x="1221" y="46"/>
                  </a:lnTo>
                  <a:lnTo>
                    <a:pt x="1241" y="54"/>
                  </a:lnTo>
                  <a:lnTo>
                    <a:pt x="0" y="409"/>
                  </a:lnTo>
                  <a:lnTo>
                    <a:pt x="3" y="388"/>
                  </a:lnTo>
                  <a:lnTo>
                    <a:pt x="8" y="367"/>
                  </a:lnTo>
                  <a:lnTo>
                    <a:pt x="12" y="347"/>
                  </a:lnTo>
                  <a:lnTo>
                    <a:pt x="17" y="327"/>
                  </a:lnTo>
                  <a:lnTo>
                    <a:pt x="21" y="316"/>
                  </a:lnTo>
                  <a:lnTo>
                    <a:pt x="24" y="306"/>
                  </a:lnTo>
                  <a:lnTo>
                    <a:pt x="26" y="296"/>
                  </a:lnTo>
                  <a:lnTo>
                    <a:pt x="29" y="28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Freeform 543"/>
            <p:cNvSpPr>
              <a:spLocks/>
            </p:cNvSpPr>
            <p:nvPr/>
          </p:nvSpPr>
          <p:spPr bwMode="auto">
            <a:xfrm>
              <a:off x="684408" y="3954566"/>
              <a:ext cx="952517" cy="323332"/>
            </a:xfrm>
            <a:custGeom>
              <a:avLst/>
              <a:gdLst>
                <a:gd name="T0" fmla="*/ 19 w 1307"/>
                <a:gd name="T1" fmla="*/ 326 h 446"/>
                <a:gd name="T2" fmla="*/ 1159 w 1307"/>
                <a:gd name="T3" fmla="*/ 0 h 446"/>
                <a:gd name="T4" fmla="*/ 1183 w 1307"/>
                <a:gd name="T5" fmla="*/ 7 h 446"/>
                <a:gd name="T6" fmla="*/ 1206 w 1307"/>
                <a:gd name="T7" fmla="*/ 14 h 446"/>
                <a:gd name="T8" fmla="*/ 1228 w 1307"/>
                <a:gd name="T9" fmla="*/ 23 h 446"/>
                <a:gd name="T10" fmla="*/ 1247 w 1307"/>
                <a:gd name="T11" fmla="*/ 31 h 446"/>
                <a:gd name="T12" fmla="*/ 1266 w 1307"/>
                <a:gd name="T13" fmla="*/ 40 h 446"/>
                <a:gd name="T14" fmla="*/ 1282 w 1307"/>
                <a:gd name="T15" fmla="*/ 50 h 446"/>
                <a:gd name="T16" fmla="*/ 1296 w 1307"/>
                <a:gd name="T17" fmla="*/ 60 h 446"/>
                <a:gd name="T18" fmla="*/ 1307 w 1307"/>
                <a:gd name="T19" fmla="*/ 71 h 446"/>
                <a:gd name="T20" fmla="*/ 0 w 1307"/>
                <a:gd name="T21" fmla="*/ 446 h 446"/>
                <a:gd name="T22" fmla="*/ 3 w 1307"/>
                <a:gd name="T23" fmla="*/ 414 h 446"/>
                <a:gd name="T24" fmla="*/ 7 w 1307"/>
                <a:gd name="T25" fmla="*/ 384 h 446"/>
                <a:gd name="T26" fmla="*/ 13 w 1307"/>
                <a:gd name="T27" fmla="*/ 355 h 446"/>
                <a:gd name="T28" fmla="*/ 19 w 1307"/>
                <a:gd name="T29" fmla="*/ 32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7" h="446">
                  <a:moveTo>
                    <a:pt x="19" y="326"/>
                  </a:moveTo>
                  <a:lnTo>
                    <a:pt x="1159" y="0"/>
                  </a:lnTo>
                  <a:lnTo>
                    <a:pt x="1183" y="7"/>
                  </a:lnTo>
                  <a:lnTo>
                    <a:pt x="1206" y="14"/>
                  </a:lnTo>
                  <a:lnTo>
                    <a:pt x="1228" y="23"/>
                  </a:lnTo>
                  <a:lnTo>
                    <a:pt x="1247" y="31"/>
                  </a:lnTo>
                  <a:lnTo>
                    <a:pt x="1266" y="40"/>
                  </a:lnTo>
                  <a:lnTo>
                    <a:pt x="1282" y="50"/>
                  </a:lnTo>
                  <a:lnTo>
                    <a:pt x="1296" y="60"/>
                  </a:lnTo>
                  <a:lnTo>
                    <a:pt x="1307" y="71"/>
                  </a:lnTo>
                  <a:lnTo>
                    <a:pt x="0" y="446"/>
                  </a:lnTo>
                  <a:lnTo>
                    <a:pt x="3" y="414"/>
                  </a:lnTo>
                  <a:lnTo>
                    <a:pt x="7" y="384"/>
                  </a:lnTo>
                  <a:lnTo>
                    <a:pt x="13" y="355"/>
                  </a:lnTo>
                  <a:lnTo>
                    <a:pt x="19" y="32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Freeform 544"/>
            <p:cNvSpPr>
              <a:spLocks/>
            </p:cNvSpPr>
            <p:nvPr/>
          </p:nvSpPr>
          <p:spPr bwMode="auto">
            <a:xfrm>
              <a:off x="681494" y="3977869"/>
              <a:ext cx="972906" cy="343721"/>
            </a:xfrm>
            <a:custGeom>
              <a:avLst/>
              <a:gdLst>
                <a:gd name="T0" fmla="*/ 11 w 1337"/>
                <a:gd name="T1" fmla="*/ 355 h 473"/>
                <a:gd name="T2" fmla="*/ 1252 w 1337"/>
                <a:gd name="T3" fmla="*/ 0 h 473"/>
                <a:gd name="T4" fmla="*/ 1266 w 1337"/>
                <a:gd name="T5" fmla="*/ 8 h 473"/>
                <a:gd name="T6" fmla="*/ 1280 w 1337"/>
                <a:gd name="T7" fmla="*/ 15 h 473"/>
                <a:gd name="T8" fmla="*/ 1292 w 1337"/>
                <a:gd name="T9" fmla="*/ 23 h 473"/>
                <a:gd name="T10" fmla="*/ 1303 w 1337"/>
                <a:gd name="T11" fmla="*/ 32 h 473"/>
                <a:gd name="T12" fmla="*/ 1313 w 1337"/>
                <a:gd name="T13" fmla="*/ 40 h 473"/>
                <a:gd name="T14" fmla="*/ 1320 w 1337"/>
                <a:gd name="T15" fmla="*/ 50 h 473"/>
                <a:gd name="T16" fmla="*/ 1327 w 1337"/>
                <a:gd name="T17" fmla="*/ 60 h 473"/>
                <a:gd name="T18" fmla="*/ 1332 w 1337"/>
                <a:gd name="T19" fmla="*/ 69 h 473"/>
                <a:gd name="T20" fmla="*/ 1335 w 1337"/>
                <a:gd name="T21" fmla="*/ 78 h 473"/>
                <a:gd name="T22" fmla="*/ 1337 w 1337"/>
                <a:gd name="T23" fmla="*/ 91 h 473"/>
                <a:gd name="T24" fmla="*/ 0 w 1337"/>
                <a:gd name="T25" fmla="*/ 473 h 473"/>
                <a:gd name="T26" fmla="*/ 2 w 1337"/>
                <a:gd name="T27" fmla="*/ 442 h 473"/>
                <a:gd name="T28" fmla="*/ 4 w 1337"/>
                <a:gd name="T29" fmla="*/ 413 h 473"/>
                <a:gd name="T30" fmla="*/ 7 w 1337"/>
                <a:gd name="T31" fmla="*/ 384 h 473"/>
                <a:gd name="T32" fmla="*/ 11 w 1337"/>
                <a:gd name="T33" fmla="*/ 355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37" h="473">
                  <a:moveTo>
                    <a:pt x="11" y="355"/>
                  </a:moveTo>
                  <a:lnTo>
                    <a:pt x="1252" y="0"/>
                  </a:lnTo>
                  <a:lnTo>
                    <a:pt x="1266" y="8"/>
                  </a:lnTo>
                  <a:lnTo>
                    <a:pt x="1280" y="15"/>
                  </a:lnTo>
                  <a:lnTo>
                    <a:pt x="1292" y="23"/>
                  </a:lnTo>
                  <a:lnTo>
                    <a:pt x="1303" y="32"/>
                  </a:lnTo>
                  <a:lnTo>
                    <a:pt x="1313" y="40"/>
                  </a:lnTo>
                  <a:lnTo>
                    <a:pt x="1320" y="50"/>
                  </a:lnTo>
                  <a:lnTo>
                    <a:pt x="1327" y="60"/>
                  </a:lnTo>
                  <a:lnTo>
                    <a:pt x="1332" y="69"/>
                  </a:lnTo>
                  <a:lnTo>
                    <a:pt x="1335" y="78"/>
                  </a:lnTo>
                  <a:lnTo>
                    <a:pt x="1337" y="91"/>
                  </a:lnTo>
                  <a:lnTo>
                    <a:pt x="0" y="473"/>
                  </a:lnTo>
                  <a:lnTo>
                    <a:pt x="2" y="442"/>
                  </a:lnTo>
                  <a:lnTo>
                    <a:pt x="4" y="413"/>
                  </a:lnTo>
                  <a:lnTo>
                    <a:pt x="7" y="384"/>
                  </a:lnTo>
                  <a:lnTo>
                    <a:pt x="11" y="35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Freeform 545"/>
            <p:cNvSpPr>
              <a:spLocks/>
            </p:cNvSpPr>
            <p:nvPr/>
          </p:nvSpPr>
          <p:spPr bwMode="auto">
            <a:xfrm>
              <a:off x="681494" y="4006998"/>
              <a:ext cx="978732" cy="355373"/>
            </a:xfrm>
            <a:custGeom>
              <a:avLst/>
              <a:gdLst>
                <a:gd name="T0" fmla="*/ 4 w 1346"/>
                <a:gd name="T1" fmla="*/ 375 h 490"/>
                <a:gd name="T2" fmla="*/ 1311 w 1346"/>
                <a:gd name="T3" fmla="*/ 0 h 490"/>
                <a:gd name="T4" fmla="*/ 1318 w 1346"/>
                <a:gd name="T5" fmla="*/ 8 h 490"/>
                <a:gd name="T6" fmla="*/ 1323 w 1346"/>
                <a:gd name="T7" fmla="*/ 14 h 490"/>
                <a:gd name="T8" fmla="*/ 1329 w 1346"/>
                <a:gd name="T9" fmla="*/ 22 h 490"/>
                <a:gd name="T10" fmla="*/ 1332 w 1346"/>
                <a:gd name="T11" fmla="*/ 29 h 490"/>
                <a:gd name="T12" fmla="*/ 1335 w 1346"/>
                <a:gd name="T13" fmla="*/ 41 h 490"/>
                <a:gd name="T14" fmla="*/ 1339 w 1346"/>
                <a:gd name="T15" fmla="*/ 58 h 490"/>
                <a:gd name="T16" fmla="*/ 1343 w 1346"/>
                <a:gd name="T17" fmla="*/ 80 h 490"/>
                <a:gd name="T18" fmla="*/ 1346 w 1346"/>
                <a:gd name="T19" fmla="*/ 106 h 490"/>
                <a:gd name="T20" fmla="*/ 0 w 1346"/>
                <a:gd name="T21" fmla="*/ 490 h 490"/>
                <a:gd name="T22" fmla="*/ 0 w 1346"/>
                <a:gd name="T23" fmla="*/ 461 h 490"/>
                <a:gd name="T24" fmla="*/ 0 w 1346"/>
                <a:gd name="T25" fmla="*/ 432 h 490"/>
                <a:gd name="T26" fmla="*/ 2 w 1346"/>
                <a:gd name="T27" fmla="*/ 402 h 490"/>
                <a:gd name="T28" fmla="*/ 4 w 1346"/>
                <a:gd name="T29" fmla="*/ 375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46" h="490">
                  <a:moveTo>
                    <a:pt x="4" y="375"/>
                  </a:moveTo>
                  <a:lnTo>
                    <a:pt x="1311" y="0"/>
                  </a:lnTo>
                  <a:lnTo>
                    <a:pt x="1318" y="8"/>
                  </a:lnTo>
                  <a:lnTo>
                    <a:pt x="1323" y="14"/>
                  </a:lnTo>
                  <a:lnTo>
                    <a:pt x="1329" y="22"/>
                  </a:lnTo>
                  <a:lnTo>
                    <a:pt x="1332" y="29"/>
                  </a:lnTo>
                  <a:lnTo>
                    <a:pt x="1335" y="41"/>
                  </a:lnTo>
                  <a:lnTo>
                    <a:pt x="1339" y="58"/>
                  </a:lnTo>
                  <a:lnTo>
                    <a:pt x="1343" y="80"/>
                  </a:lnTo>
                  <a:lnTo>
                    <a:pt x="1346" y="106"/>
                  </a:lnTo>
                  <a:lnTo>
                    <a:pt x="0" y="490"/>
                  </a:lnTo>
                  <a:lnTo>
                    <a:pt x="0" y="461"/>
                  </a:lnTo>
                  <a:lnTo>
                    <a:pt x="0" y="432"/>
                  </a:lnTo>
                  <a:lnTo>
                    <a:pt x="2" y="402"/>
                  </a:lnTo>
                  <a:lnTo>
                    <a:pt x="4" y="37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546"/>
            <p:cNvSpPr>
              <a:spLocks/>
            </p:cNvSpPr>
            <p:nvPr/>
          </p:nvSpPr>
          <p:spPr bwMode="auto">
            <a:xfrm>
              <a:off x="681494" y="4041953"/>
              <a:ext cx="984557" cy="361199"/>
            </a:xfrm>
            <a:custGeom>
              <a:avLst/>
              <a:gdLst>
                <a:gd name="T0" fmla="*/ 0 w 1353"/>
                <a:gd name="T1" fmla="*/ 382 h 495"/>
                <a:gd name="T2" fmla="*/ 1337 w 1353"/>
                <a:gd name="T3" fmla="*/ 0 h 495"/>
                <a:gd name="T4" fmla="*/ 1342 w 1353"/>
                <a:gd name="T5" fmla="*/ 21 h 495"/>
                <a:gd name="T6" fmla="*/ 1345 w 1353"/>
                <a:gd name="T7" fmla="*/ 48 h 495"/>
                <a:gd name="T8" fmla="*/ 1349 w 1353"/>
                <a:gd name="T9" fmla="*/ 77 h 495"/>
                <a:gd name="T10" fmla="*/ 1353 w 1353"/>
                <a:gd name="T11" fmla="*/ 109 h 495"/>
                <a:gd name="T12" fmla="*/ 4 w 1353"/>
                <a:gd name="T13" fmla="*/ 495 h 495"/>
                <a:gd name="T14" fmla="*/ 2 w 1353"/>
                <a:gd name="T15" fmla="*/ 467 h 495"/>
                <a:gd name="T16" fmla="*/ 0 w 1353"/>
                <a:gd name="T17" fmla="*/ 439 h 495"/>
                <a:gd name="T18" fmla="*/ 0 w 1353"/>
                <a:gd name="T19" fmla="*/ 410 h 495"/>
                <a:gd name="T20" fmla="*/ 0 w 1353"/>
                <a:gd name="T21" fmla="*/ 38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3" h="495">
                  <a:moveTo>
                    <a:pt x="0" y="382"/>
                  </a:moveTo>
                  <a:lnTo>
                    <a:pt x="1337" y="0"/>
                  </a:lnTo>
                  <a:lnTo>
                    <a:pt x="1342" y="21"/>
                  </a:lnTo>
                  <a:lnTo>
                    <a:pt x="1345" y="48"/>
                  </a:lnTo>
                  <a:lnTo>
                    <a:pt x="1349" y="77"/>
                  </a:lnTo>
                  <a:lnTo>
                    <a:pt x="1353" y="109"/>
                  </a:lnTo>
                  <a:lnTo>
                    <a:pt x="4" y="495"/>
                  </a:lnTo>
                  <a:lnTo>
                    <a:pt x="2" y="467"/>
                  </a:lnTo>
                  <a:lnTo>
                    <a:pt x="0" y="439"/>
                  </a:lnTo>
                  <a:lnTo>
                    <a:pt x="0" y="410"/>
                  </a:lnTo>
                  <a:lnTo>
                    <a:pt x="0" y="3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Freeform 547"/>
            <p:cNvSpPr>
              <a:spLocks/>
            </p:cNvSpPr>
            <p:nvPr/>
          </p:nvSpPr>
          <p:spPr bwMode="auto">
            <a:xfrm>
              <a:off x="681494" y="4082733"/>
              <a:ext cx="990383" cy="361199"/>
            </a:xfrm>
            <a:custGeom>
              <a:avLst/>
              <a:gdLst>
                <a:gd name="T0" fmla="*/ 0 w 1361"/>
                <a:gd name="T1" fmla="*/ 384 h 495"/>
                <a:gd name="T2" fmla="*/ 1346 w 1361"/>
                <a:gd name="T3" fmla="*/ 0 h 495"/>
                <a:gd name="T4" fmla="*/ 1349 w 1361"/>
                <a:gd name="T5" fmla="*/ 25 h 495"/>
                <a:gd name="T6" fmla="*/ 1353 w 1361"/>
                <a:gd name="T7" fmla="*/ 53 h 495"/>
                <a:gd name="T8" fmla="*/ 1357 w 1361"/>
                <a:gd name="T9" fmla="*/ 81 h 495"/>
                <a:gd name="T10" fmla="*/ 1361 w 1361"/>
                <a:gd name="T11" fmla="*/ 109 h 495"/>
                <a:gd name="T12" fmla="*/ 9 w 1361"/>
                <a:gd name="T13" fmla="*/ 495 h 495"/>
                <a:gd name="T14" fmla="*/ 6 w 1361"/>
                <a:gd name="T15" fmla="*/ 467 h 495"/>
                <a:gd name="T16" fmla="*/ 4 w 1361"/>
                <a:gd name="T17" fmla="*/ 440 h 495"/>
                <a:gd name="T18" fmla="*/ 2 w 1361"/>
                <a:gd name="T19" fmla="*/ 412 h 495"/>
                <a:gd name="T20" fmla="*/ 0 w 1361"/>
                <a:gd name="T21" fmla="*/ 38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1" h="495">
                  <a:moveTo>
                    <a:pt x="0" y="384"/>
                  </a:moveTo>
                  <a:lnTo>
                    <a:pt x="1346" y="0"/>
                  </a:lnTo>
                  <a:lnTo>
                    <a:pt x="1349" y="25"/>
                  </a:lnTo>
                  <a:lnTo>
                    <a:pt x="1353" y="53"/>
                  </a:lnTo>
                  <a:lnTo>
                    <a:pt x="1357" y="81"/>
                  </a:lnTo>
                  <a:lnTo>
                    <a:pt x="1361" y="109"/>
                  </a:lnTo>
                  <a:lnTo>
                    <a:pt x="9" y="495"/>
                  </a:lnTo>
                  <a:lnTo>
                    <a:pt x="6" y="467"/>
                  </a:lnTo>
                  <a:lnTo>
                    <a:pt x="4" y="440"/>
                  </a:lnTo>
                  <a:lnTo>
                    <a:pt x="2" y="412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Freeform 548"/>
            <p:cNvSpPr>
              <a:spLocks/>
            </p:cNvSpPr>
            <p:nvPr/>
          </p:nvSpPr>
          <p:spPr bwMode="auto">
            <a:xfrm>
              <a:off x="684408" y="4123514"/>
              <a:ext cx="993297" cy="361199"/>
            </a:xfrm>
            <a:custGeom>
              <a:avLst/>
              <a:gdLst>
                <a:gd name="T0" fmla="*/ 0 w 1366"/>
                <a:gd name="T1" fmla="*/ 386 h 496"/>
                <a:gd name="T2" fmla="*/ 1349 w 1366"/>
                <a:gd name="T3" fmla="*/ 0 h 496"/>
                <a:gd name="T4" fmla="*/ 1353 w 1366"/>
                <a:gd name="T5" fmla="*/ 28 h 496"/>
                <a:gd name="T6" fmla="*/ 1357 w 1366"/>
                <a:gd name="T7" fmla="*/ 57 h 496"/>
                <a:gd name="T8" fmla="*/ 1361 w 1366"/>
                <a:gd name="T9" fmla="*/ 84 h 496"/>
                <a:gd name="T10" fmla="*/ 1366 w 1366"/>
                <a:gd name="T11" fmla="*/ 110 h 496"/>
                <a:gd name="T12" fmla="*/ 13 w 1366"/>
                <a:gd name="T13" fmla="*/ 496 h 496"/>
                <a:gd name="T14" fmla="*/ 8 w 1366"/>
                <a:gd name="T15" fmla="*/ 469 h 496"/>
                <a:gd name="T16" fmla="*/ 5 w 1366"/>
                <a:gd name="T17" fmla="*/ 441 h 496"/>
                <a:gd name="T18" fmla="*/ 2 w 1366"/>
                <a:gd name="T19" fmla="*/ 413 h 496"/>
                <a:gd name="T20" fmla="*/ 0 w 1366"/>
                <a:gd name="T21" fmla="*/ 38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66" h="496">
                  <a:moveTo>
                    <a:pt x="0" y="386"/>
                  </a:moveTo>
                  <a:lnTo>
                    <a:pt x="1349" y="0"/>
                  </a:lnTo>
                  <a:lnTo>
                    <a:pt x="1353" y="28"/>
                  </a:lnTo>
                  <a:lnTo>
                    <a:pt x="1357" y="57"/>
                  </a:lnTo>
                  <a:lnTo>
                    <a:pt x="1361" y="84"/>
                  </a:lnTo>
                  <a:lnTo>
                    <a:pt x="1366" y="110"/>
                  </a:lnTo>
                  <a:lnTo>
                    <a:pt x="13" y="496"/>
                  </a:lnTo>
                  <a:lnTo>
                    <a:pt x="8" y="469"/>
                  </a:lnTo>
                  <a:lnTo>
                    <a:pt x="5" y="441"/>
                  </a:lnTo>
                  <a:lnTo>
                    <a:pt x="2" y="413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Freeform 549"/>
            <p:cNvSpPr>
              <a:spLocks/>
            </p:cNvSpPr>
            <p:nvPr/>
          </p:nvSpPr>
          <p:spPr bwMode="auto">
            <a:xfrm>
              <a:off x="687320" y="4161382"/>
              <a:ext cx="999123" cy="361199"/>
            </a:xfrm>
            <a:custGeom>
              <a:avLst/>
              <a:gdLst>
                <a:gd name="T0" fmla="*/ 0 w 1372"/>
                <a:gd name="T1" fmla="*/ 386 h 495"/>
                <a:gd name="T2" fmla="*/ 1352 w 1372"/>
                <a:gd name="T3" fmla="*/ 0 h 495"/>
                <a:gd name="T4" fmla="*/ 1355 w 1372"/>
                <a:gd name="T5" fmla="*/ 23 h 495"/>
                <a:gd name="T6" fmla="*/ 1358 w 1372"/>
                <a:gd name="T7" fmla="*/ 44 h 495"/>
                <a:gd name="T8" fmla="*/ 1363 w 1372"/>
                <a:gd name="T9" fmla="*/ 65 h 495"/>
                <a:gd name="T10" fmla="*/ 1366 w 1372"/>
                <a:gd name="T11" fmla="*/ 82 h 495"/>
                <a:gd name="T12" fmla="*/ 1369 w 1372"/>
                <a:gd name="T13" fmla="*/ 96 h 495"/>
                <a:gd name="T14" fmla="*/ 1372 w 1372"/>
                <a:gd name="T15" fmla="*/ 109 h 495"/>
                <a:gd name="T16" fmla="*/ 18 w 1372"/>
                <a:gd name="T17" fmla="*/ 495 h 495"/>
                <a:gd name="T18" fmla="*/ 13 w 1372"/>
                <a:gd name="T19" fmla="*/ 469 h 495"/>
                <a:gd name="T20" fmla="*/ 8 w 1372"/>
                <a:gd name="T21" fmla="*/ 441 h 495"/>
                <a:gd name="T22" fmla="*/ 3 w 1372"/>
                <a:gd name="T23" fmla="*/ 414 h 495"/>
                <a:gd name="T24" fmla="*/ 0 w 1372"/>
                <a:gd name="T25" fmla="*/ 386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72" h="495">
                  <a:moveTo>
                    <a:pt x="0" y="386"/>
                  </a:moveTo>
                  <a:lnTo>
                    <a:pt x="1352" y="0"/>
                  </a:lnTo>
                  <a:lnTo>
                    <a:pt x="1355" y="23"/>
                  </a:lnTo>
                  <a:lnTo>
                    <a:pt x="1358" y="44"/>
                  </a:lnTo>
                  <a:lnTo>
                    <a:pt x="1363" y="65"/>
                  </a:lnTo>
                  <a:lnTo>
                    <a:pt x="1366" y="82"/>
                  </a:lnTo>
                  <a:lnTo>
                    <a:pt x="1369" y="96"/>
                  </a:lnTo>
                  <a:lnTo>
                    <a:pt x="1372" y="109"/>
                  </a:lnTo>
                  <a:lnTo>
                    <a:pt x="18" y="495"/>
                  </a:lnTo>
                  <a:lnTo>
                    <a:pt x="13" y="469"/>
                  </a:lnTo>
                  <a:lnTo>
                    <a:pt x="8" y="441"/>
                  </a:lnTo>
                  <a:lnTo>
                    <a:pt x="3" y="414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Freeform 550"/>
            <p:cNvSpPr>
              <a:spLocks/>
            </p:cNvSpPr>
            <p:nvPr/>
          </p:nvSpPr>
          <p:spPr bwMode="auto">
            <a:xfrm>
              <a:off x="693145" y="4202163"/>
              <a:ext cx="999123" cy="358287"/>
            </a:xfrm>
            <a:custGeom>
              <a:avLst/>
              <a:gdLst>
                <a:gd name="T0" fmla="*/ 0 w 1372"/>
                <a:gd name="T1" fmla="*/ 386 h 494"/>
                <a:gd name="T2" fmla="*/ 1353 w 1372"/>
                <a:gd name="T3" fmla="*/ 0 h 494"/>
                <a:gd name="T4" fmla="*/ 1356 w 1372"/>
                <a:gd name="T5" fmla="*/ 14 h 494"/>
                <a:gd name="T6" fmla="*/ 1358 w 1372"/>
                <a:gd name="T7" fmla="*/ 27 h 494"/>
                <a:gd name="T8" fmla="*/ 1364 w 1372"/>
                <a:gd name="T9" fmla="*/ 51 h 494"/>
                <a:gd name="T10" fmla="*/ 1368 w 1372"/>
                <a:gd name="T11" fmla="*/ 72 h 494"/>
                <a:gd name="T12" fmla="*/ 1371 w 1372"/>
                <a:gd name="T13" fmla="*/ 92 h 494"/>
                <a:gd name="T14" fmla="*/ 1372 w 1372"/>
                <a:gd name="T15" fmla="*/ 109 h 494"/>
                <a:gd name="T16" fmla="*/ 22 w 1372"/>
                <a:gd name="T17" fmla="*/ 494 h 494"/>
                <a:gd name="T18" fmla="*/ 21 w 1372"/>
                <a:gd name="T19" fmla="*/ 490 h 494"/>
                <a:gd name="T20" fmla="*/ 20 w 1372"/>
                <a:gd name="T21" fmla="*/ 485 h 494"/>
                <a:gd name="T22" fmla="*/ 15 w 1372"/>
                <a:gd name="T23" fmla="*/ 460 h 494"/>
                <a:gd name="T24" fmla="*/ 9 w 1372"/>
                <a:gd name="T25" fmla="*/ 437 h 494"/>
                <a:gd name="T26" fmla="*/ 4 w 1372"/>
                <a:gd name="T27" fmla="*/ 412 h 494"/>
                <a:gd name="T28" fmla="*/ 0 w 1372"/>
                <a:gd name="T29" fmla="*/ 386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2" h="494">
                  <a:moveTo>
                    <a:pt x="0" y="386"/>
                  </a:moveTo>
                  <a:lnTo>
                    <a:pt x="1353" y="0"/>
                  </a:lnTo>
                  <a:lnTo>
                    <a:pt x="1356" y="14"/>
                  </a:lnTo>
                  <a:lnTo>
                    <a:pt x="1358" y="27"/>
                  </a:lnTo>
                  <a:lnTo>
                    <a:pt x="1364" y="51"/>
                  </a:lnTo>
                  <a:lnTo>
                    <a:pt x="1368" y="72"/>
                  </a:lnTo>
                  <a:lnTo>
                    <a:pt x="1371" y="92"/>
                  </a:lnTo>
                  <a:lnTo>
                    <a:pt x="1372" y="109"/>
                  </a:lnTo>
                  <a:lnTo>
                    <a:pt x="22" y="494"/>
                  </a:lnTo>
                  <a:lnTo>
                    <a:pt x="21" y="490"/>
                  </a:lnTo>
                  <a:lnTo>
                    <a:pt x="20" y="485"/>
                  </a:lnTo>
                  <a:lnTo>
                    <a:pt x="15" y="460"/>
                  </a:lnTo>
                  <a:lnTo>
                    <a:pt x="9" y="437"/>
                  </a:lnTo>
                  <a:lnTo>
                    <a:pt x="4" y="412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Freeform 551"/>
            <p:cNvSpPr>
              <a:spLocks/>
            </p:cNvSpPr>
            <p:nvPr/>
          </p:nvSpPr>
          <p:spPr bwMode="auto">
            <a:xfrm>
              <a:off x="701885" y="4240029"/>
              <a:ext cx="990383" cy="361199"/>
            </a:xfrm>
            <a:custGeom>
              <a:avLst/>
              <a:gdLst>
                <a:gd name="T0" fmla="*/ 0 w 1362"/>
                <a:gd name="T1" fmla="*/ 386 h 493"/>
                <a:gd name="T2" fmla="*/ 1354 w 1362"/>
                <a:gd name="T3" fmla="*/ 0 h 493"/>
                <a:gd name="T4" fmla="*/ 1358 w 1362"/>
                <a:gd name="T5" fmla="*/ 18 h 493"/>
                <a:gd name="T6" fmla="*/ 1360 w 1362"/>
                <a:gd name="T7" fmla="*/ 35 h 493"/>
                <a:gd name="T8" fmla="*/ 1362 w 1362"/>
                <a:gd name="T9" fmla="*/ 51 h 493"/>
                <a:gd name="T10" fmla="*/ 1362 w 1362"/>
                <a:gd name="T11" fmla="*/ 64 h 493"/>
                <a:gd name="T12" fmla="*/ 1361 w 1362"/>
                <a:gd name="T13" fmla="*/ 89 h 493"/>
                <a:gd name="T14" fmla="*/ 1359 w 1362"/>
                <a:gd name="T15" fmla="*/ 113 h 493"/>
                <a:gd name="T16" fmla="*/ 27 w 1362"/>
                <a:gd name="T17" fmla="*/ 493 h 493"/>
                <a:gd name="T18" fmla="*/ 23 w 1362"/>
                <a:gd name="T19" fmla="*/ 479 h 493"/>
                <a:gd name="T20" fmla="*/ 19 w 1362"/>
                <a:gd name="T21" fmla="*/ 462 h 493"/>
                <a:gd name="T22" fmla="*/ 14 w 1362"/>
                <a:gd name="T23" fmla="*/ 447 h 493"/>
                <a:gd name="T24" fmla="*/ 10 w 1362"/>
                <a:gd name="T25" fmla="*/ 431 h 493"/>
                <a:gd name="T26" fmla="*/ 7 w 1362"/>
                <a:gd name="T27" fmla="*/ 419 h 493"/>
                <a:gd name="T28" fmla="*/ 5 w 1362"/>
                <a:gd name="T29" fmla="*/ 409 h 493"/>
                <a:gd name="T30" fmla="*/ 3 w 1362"/>
                <a:gd name="T31" fmla="*/ 398 h 493"/>
                <a:gd name="T32" fmla="*/ 0 w 1362"/>
                <a:gd name="T33" fmla="*/ 386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2" h="493">
                  <a:moveTo>
                    <a:pt x="0" y="386"/>
                  </a:moveTo>
                  <a:lnTo>
                    <a:pt x="1354" y="0"/>
                  </a:lnTo>
                  <a:lnTo>
                    <a:pt x="1358" y="18"/>
                  </a:lnTo>
                  <a:lnTo>
                    <a:pt x="1360" y="35"/>
                  </a:lnTo>
                  <a:lnTo>
                    <a:pt x="1362" y="51"/>
                  </a:lnTo>
                  <a:lnTo>
                    <a:pt x="1362" y="64"/>
                  </a:lnTo>
                  <a:lnTo>
                    <a:pt x="1361" y="89"/>
                  </a:lnTo>
                  <a:lnTo>
                    <a:pt x="1359" y="113"/>
                  </a:lnTo>
                  <a:lnTo>
                    <a:pt x="27" y="493"/>
                  </a:lnTo>
                  <a:lnTo>
                    <a:pt x="23" y="479"/>
                  </a:lnTo>
                  <a:lnTo>
                    <a:pt x="19" y="462"/>
                  </a:lnTo>
                  <a:lnTo>
                    <a:pt x="14" y="447"/>
                  </a:lnTo>
                  <a:lnTo>
                    <a:pt x="10" y="431"/>
                  </a:lnTo>
                  <a:lnTo>
                    <a:pt x="7" y="419"/>
                  </a:lnTo>
                  <a:lnTo>
                    <a:pt x="5" y="409"/>
                  </a:lnTo>
                  <a:lnTo>
                    <a:pt x="3" y="398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Freeform 552"/>
            <p:cNvSpPr>
              <a:spLocks/>
            </p:cNvSpPr>
            <p:nvPr/>
          </p:nvSpPr>
          <p:spPr bwMode="auto">
            <a:xfrm>
              <a:off x="710623" y="4280810"/>
              <a:ext cx="981645" cy="358287"/>
            </a:xfrm>
            <a:custGeom>
              <a:avLst/>
              <a:gdLst>
                <a:gd name="T0" fmla="*/ 0 w 1350"/>
                <a:gd name="T1" fmla="*/ 385 h 489"/>
                <a:gd name="T2" fmla="*/ 1350 w 1350"/>
                <a:gd name="T3" fmla="*/ 0 h 489"/>
                <a:gd name="T4" fmla="*/ 1350 w 1350"/>
                <a:gd name="T5" fmla="*/ 16 h 489"/>
                <a:gd name="T6" fmla="*/ 1350 w 1350"/>
                <a:gd name="T7" fmla="*/ 31 h 489"/>
                <a:gd name="T8" fmla="*/ 1348 w 1350"/>
                <a:gd name="T9" fmla="*/ 45 h 489"/>
                <a:gd name="T10" fmla="*/ 1347 w 1350"/>
                <a:gd name="T11" fmla="*/ 58 h 489"/>
                <a:gd name="T12" fmla="*/ 1343 w 1350"/>
                <a:gd name="T13" fmla="*/ 86 h 489"/>
                <a:gd name="T14" fmla="*/ 1342 w 1350"/>
                <a:gd name="T15" fmla="*/ 116 h 489"/>
                <a:gd name="T16" fmla="*/ 35 w 1350"/>
                <a:gd name="T17" fmla="*/ 489 h 489"/>
                <a:gd name="T18" fmla="*/ 25 w 1350"/>
                <a:gd name="T19" fmla="*/ 465 h 489"/>
                <a:gd name="T20" fmla="*/ 16 w 1350"/>
                <a:gd name="T21" fmla="*/ 441 h 489"/>
                <a:gd name="T22" fmla="*/ 8 w 1350"/>
                <a:gd name="T23" fmla="*/ 414 h 489"/>
                <a:gd name="T24" fmla="*/ 0 w 1350"/>
                <a:gd name="T25" fmla="*/ 385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0" h="489">
                  <a:moveTo>
                    <a:pt x="0" y="385"/>
                  </a:moveTo>
                  <a:lnTo>
                    <a:pt x="1350" y="0"/>
                  </a:lnTo>
                  <a:lnTo>
                    <a:pt x="1350" y="16"/>
                  </a:lnTo>
                  <a:lnTo>
                    <a:pt x="1350" y="31"/>
                  </a:lnTo>
                  <a:lnTo>
                    <a:pt x="1348" y="45"/>
                  </a:lnTo>
                  <a:lnTo>
                    <a:pt x="1347" y="58"/>
                  </a:lnTo>
                  <a:lnTo>
                    <a:pt x="1343" y="86"/>
                  </a:lnTo>
                  <a:lnTo>
                    <a:pt x="1342" y="116"/>
                  </a:lnTo>
                  <a:lnTo>
                    <a:pt x="35" y="489"/>
                  </a:lnTo>
                  <a:lnTo>
                    <a:pt x="25" y="465"/>
                  </a:lnTo>
                  <a:lnTo>
                    <a:pt x="16" y="441"/>
                  </a:lnTo>
                  <a:lnTo>
                    <a:pt x="8" y="414"/>
                  </a:lnTo>
                  <a:lnTo>
                    <a:pt x="0" y="38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Freeform 553"/>
            <p:cNvSpPr>
              <a:spLocks/>
            </p:cNvSpPr>
            <p:nvPr/>
          </p:nvSpPr>
          <p:spPr bwMode="auto">
            <a:xfrm>
              <a:off x="719362" y="4324504"/>
              <a:ext cx="969994" cy="349547"/>
            </a:xfrm>
            <a:custGeom>
              <a:avLst/>
              <a:gdLst>
                <a:gd name="T0" fmla="*/ 0 w 1333"/>
                <a:gd name="T1" fmla="*/ 380 h 483"/>
                <a:gd name="T2" fmla="*/ 1332 w 1333"/>
                <a:gd name="T3" fmla="*/ 0 h 483"/>
                <a:gd name="T4" fmla="*/ 1330 w 1333"/>
                <a:gd name="T5" fmla="*/ 19 h 483"/>
                <a:gd name="T6" fmla="*/ 1327 w 1333"/>
                <a:gd name="T7" fmla="*/ 42 h 483"/>
                <a:gd name="T8" fmla="*/ 1327 w 1333"/>
                <a:gd name="T9" fmla="*/ 53 h 483"/>
                <a:gd name="T10" fmla="*/ 1327 w 1333"/>
                <a:gd name="T11" fmla="*/ 65 h 483"/>
                <a:gd name="T12" fmla="*/ 1328 w 1333"/>
                <a:gd name="T13" fmla="*/ 79 h 483"/>
                <a:gd name="T14" fmla="*/ 1330 w 1333"/>
                <a:gd name="T15" fmla="*/ 93 h 483"/>
                <a:gd name="T16" fmla="*/ 1331 w 1333"/>
                <a:gd name="T17" fmla="*/ 104 h 483"/>
                <a:gd name="T18" fmla="*/ 1333 w 1333"/>
                <a:gd name="T19" fmla="*/ 114 h 483"/>
                <a:gd name="T20" fmla="*/ 42 w 1333"/>
                <a:gd name="T21" fmla="*/ 483 h 483"/>
                <a:gd name="T22" fmla="*/ 31 w 1333"/>
                <a:gd name="T23" fmla="*/ 459 h 483"/>
                <a:gd name="T24" fmla="*/ 21 w 1333"/>
                <a:gd name="T25" fmla="*/ 434 h 483"/>
                <a:gd name="T26" fmla="*/ 10 w 1333"/>
                <a:gd name="T27" fmla="*/ 407 h 483"/>
                <a:gd name="T28" fmla="*/ 0 w 1333"/>
                <a:gd name="T29" fmla="*/ 380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3" h="483">
                  <a:moveTo>
                    <a:pt x="0" y="380"/>
                  </a:moveTo>
                  <a:lnTo>
                    <a:pt x="1332" y="0"/>
                  </a:lnTo>
                  <a:lnTo>
                    <a:pt x="1330" y="19"/>
                  </a:lnTo>
                  <a:lnTo>
                    <a:pt x="1327" y="42"/>
                  </a:lnTo>
                  <a:lnTo>
                    <a:pt x="1327" y="53"/>
                  </a:lnTo>
                  <a:lnTo>
                    <a:pt x="1327" y="65"/>
                  </a:lnTo>
                  <a:lnTo>
                    <a:pt x="1328" y="79"/>
                  </a:lnTo>
                  <a:lnTo>
                    <a:pt x="1330" y="93"/>
                  </a:lnTo>
                  <a:lnTo>
                    <a:pt x="1331" y="104"/>
                  </a:lnTo>
                  <a:lnTo>
                    <a:pt x="1333" y="114"/>
                  </a:lnTo>
                  <a:lnTo>
                    <a:pt x="42" y="483"/>
                  </a:lnTo>
                  <a:lnTo>
                    <a:pt x="31" y="459"/>
                  </a:lnTo>
                  <a:lnTo>
                    <a:pt x="21" y="434"/>
                  </a:lnTo>
                  <a:lnTo>
                    <a:pt x="10" y="407"/>
                  </a:lnTo>
                  <a:lnTo>
                    <a:pt x="0" y="38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Freeform 554"/>
            <p:cNvSpPr>
              <a:spLocks/>
            </p:cNvSpPr>
            <p:nvPr/>
          </p:nvSpPr>
          <p:spPr bwMode="auto">
            <a:xfrm>
              <a:off x="733926" y="4365285"/>
              <a:ext cx="969994" cy="346635"/>
            </a:xfrm>
            <a:custGeom>
              <a:avLst/>
              <a:gdLst>
                <a:gd name="T0" fmla="*/ 0 w 1330"/>
                <a:gd name="T1" fmla="*/ 373 h 474"/>
                <a:gd name="T2" fmla="*/ 1307 w 1330"/>
                <a:gd name="T3" fmla="*/ 0 h 474"/>
                <a:gd name="T4" fmla="*/ 1307 w 1330"/>
                <a:gd name="T5" fmla="*/ 9 h 474"/>
                <a:gd name="T6" fmla="*/ 1307 w 1330"/>
                <a:gd name="T7" fmla="*/ 17 h 474"/>
                <a:gd name="T8" fmla="*/ 1308 w 1330"/>
                <a:gd name="T9" fmla="*/ 26 h 474"/>
                <a:gd name="T10" fmla="*/ 1310 w 1330"/>
                <a:gd name="T11" fmla="*/ 35 h 474"/>
                <a:gd name="T12" fmla="*/ 1313 w 1330"/>
                <a:gd name="T13" fmla="*/ 55 h 474"/>
                <a:gd name="T14" fmla="*/ 1317 w 1330"/>
                <a:gd name="T15" fmla="*/ 73 h 474"/>
                <a:gd name="T16" fmla="*/ 1324 w 1330"/>
                <a:gd name="T17" fmla="*/ 90 h 474"/>
                <a:gd name="T18" fmla="*/ 1330 w 1330"/>
                <a:gd name="T19" fmla="*/ 108 h 474"/>
                <a:gd name="T20" fmla="*/ 48 w 1330"/>
                <a:gd name="T21" fmla="*/ 474 h 474"/>
                <a:gd name="T22" fmla="*/ 35 w 1330"/>
                <a:gd name="T23" fmla="*/ 452 h 474"/>
                <a:gd name="T24" fmla="*/ 23 w 1330"/>
                <a:gd name="T25" fmla="*/ 427 h 474"/>
                <a:gd name="T26" fmla="*/ 11 w 1330"/>
                <a:gd name="T27" fmla="*/ 401 h 474"/>
                <a:gd name="T28" fmla="*/ 0 w 1330"/>
                <a:gd name="T29" fmla="*/ 373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30" h="474">
                  <a:moveTo>
                    <a:pt x="0" y="373"/>
                  </a:moveTo>
                  <a:lnTo>
                    <a:pt x="1307" y="0"/>
                  </a:lnTo>
                  <a:lnTo>
                    <a:pt x="1307" y="9"/>
                  </a:lnTo>
                  <a:lnTo>
                    <a:pt x="1307" y="17"/>
                  </a:lnTo>
                  <a:lnTo>
                    <a:pt x="1308" y="26"/>
                  </a:lnTo>
                  <a:lnTo>
                    <a:pt x="1310" y="35"/>
                  </a:lnTo>
                  <a:lnTo>
                    <a:pt x="1313" y="55"/>
                  </a:lnTo>
                  <a:lnTo>
                    <a:pt x="1317" y="73"/>
                  </a:lnTo>
                  <a:lnTo>
                    <a:pt x="1324" y="90"/>
                  </a:lnTo>
                  <a:lnTo>
                    <a:pt x="1330" y="108"/>
                  </a:lnTo>
                  <a:lnTo>
                    <a:pt x="48" y="474"/>
                  </a:lnTo>
                  <a:lnTo>
                    <a:pt x="35" y="452"/>
                  </a:lnTo>
                  <a:lnTo>
                    <a:pt x="23" y="427"/>
                  </a:lnTo>
                  <a:lnTo>
                    <a:pt x="11" y="401"/>
                  </a:lnTo>
                  <a:lnTo>
                    <a:pt x="0" y="37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Freeform 555"/>
            <p:cNvSpPr>
              <a:spLocks/>
            </p:cNvSpPr>
            <p:nvPr/>
          </p:nvSpPr>
          <p:spPr bwMode="auto">
            <a:xfrm>
              <a:off x="751403" y="4406065"/>
              <a:ext cx="972906" cy="340809"/>
            </a:xfrm>
            <a:custGeom>
              <a:avLst/>
              <a:gdLst>
                <a:gd name="T0" fmla="*/ 0 w 1336"/>
                <a:gd name="T1" fmla="*/ 369 h 467"/>
                <a:gd name="T2" fmla="*/ 1291 w 1336"/>
                <a:gd name="T3" fmla="*/ 0 h 467"/>
                <a:gd name="T4" fmla="*/ 1294 w 1336"/>
                <a:gd name="T5" fmla="*/ 14 h 467"/>
                <a:gd name="T6" fmla="*/ 1298 w 1336"/>
                <a:gd name="T7" fmla="*/ 27 h 467"/>
                <a:gd name="T8" fmla="*/ 1303 w 1336"/>
                <a:gd name="T9" fmla="*/ 40 h 467"/>
                <a:gd name="T10" fmla="*/ 1309 w 1336"/>
                <a:gd name="T11" fmla="*/ 53 h 467"/>
                <a:gd name="T12" fmla="*/ 1321 w 1336"/>
                <a:gd name="T13" fmla="*/ 77 h 467"/>
                <a:gd name="T14" fmla="*/ 1336 w 1336"/>
                <a:gd name="T15" fmla="*/ 101 h 467"/>
                <a:gd name="T16" fmla="*/ 54 w 1336"/>
                <a:gd name="T17" fmla="*/ 467 h 467"/>
                <a:gd name="T18" fmla="*/ 41 w 1336"/>
                <a:gd name="T19" fmla="*/ 444 h 467"/>
                <a:gd name="T20" fmla="*/ 27 w 1336"/>
                <a:gd name="T21" fmla="*/ 420 h 467"/>
                <a:gd name="T22" fmla="*/ 14 w 1336"/>
                <a:gd name="T23" fmla="*/ 396 h 467"/>
                <a:gd name="T24" fmla="*/ 0 w 1336"/>
                <a:gd name="T25" fmla="*/ 369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36" h="467">
                  <a:moveTo>
                    <a:pt x="0" y="369"/>
                  </a:moveTo>
                  <a:lnTo>
                    <a:pt x="1291" y="0"/>
                  </a:lnTo>
                  <a:lnTo>
                    <a:pt x="1294" y="14"/>
                  </a:lnTo>
                  <a:lnTo>
                    <a:pt x="1298" y="27"/>
                  </a:lnTo>
                  <a:lnTo>
                    <a:pt x="1303" y="40"/>
                  </a:lnTo>
                  <a:lnTo>
                    <a:pt x="1309" y="53"/>
                  </a:lnTo>
                  <a:lnTo>
                    <a:pt x="1321" y="77"/>
                  </a:lnTo>
                  <a:lnTo>
                    <a:pt x="1336" y="101"/>
                  </a:lnTo>
                  <a:lnTo>
                    <a:pt x="54" y="467"/>
                  </a:lnTo>
                  <a:lnTo>
                    <a:pt x="41" y="444"/>
                  </a:lnTo>
                  <a:lnTo>
                    <a:pt x="27" y="420"/>
                  </a:lnTo>
                  <a:lnTo>
                    <a:pt x="14" y="396"/>
                  </a:lnTo>
                  <a:lnTo>
                    <a:pt x="0" y="36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Freeform 556"/>
            <p:cNvSpPr>
              <a:spLocks/>
            </p:cNvSpPr>
            <p:nvPr/>
          </p:nvSpPr>
          <p:spPr bwMode="auto">
            <a:xfrm>
              <a:off x="768880" y="4443932"/>
              <a:ext cx="978732" cy="337896"/>
            </a:xfrm>
            <a:custGeom>
              <a:avLst/>
              <a:gdLst>
                <a:gd name="T0" fmla="*/ 0 w 1344"/>
                <a:gd name="T1" fmla="*/ 366 h 464"/>
                <a:gd name="T2" fmla="*/ 1282 w 1344"/>
                <a:gd name="T3" fmla="*/ 0 h 464"/>
                <a:gd name="T4" fmla="*/ 1288 w 1344"/>
                <a:gd name="T5" fmla="*/ 12 h 464"/>
                <a:gd name="T6" fmla="*/ 1295 w 1344"/>
                <a:gd name="T7" fmla="*/ 25 h 464"/>
                <a:gd name="T8" fmla="*/ 1302 w 1344"/>
                <a:gd name="T9" fmla="*/ 37 h 464"/>
                <a:gd name="T10" fmla="*/ 1310 w 1344"/>
                <a:gd name="T11" fmla="*/ 49 h 464"/>
                <a:gd name="T12" fmla="*/ 1327 w 1344"/>
                <a:gd name="T13" fmla="*/ 73 h 464"/>
                <a:gd name="T14" fmla="*/ 1344 w 1344"/>
                <a:gd name="T15" fmla="*/ 96 h 464"/>
                <a:gd name="T16" fmla="*/ 57 w 1344"/>
                <a:gd name="T17" fmla="*/ 464 h 464"/>
                <a:gd name="T18" fmla="*/ 44 w 1344"/>
                <a:gd name="T19" fmla="*/ 442 h 464"/>
                <a:gd name="T20" fmla="*/ 30 w 1344"/>
                <a:gd name="T21" fmla="*/ 418 h 464"/>
                <a:gd name="T22" fmla="*/ 15 w 1344"/>
                <a:gd name="T23" fmla="*/ 392 h 464"/>
                <a:gd name="T24" fmla="*/ 0 w 1344"/>
                <a:gd name="T25" fmla="*/ 36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4" h="464">
                  <a:moveTo>
                    <a:pt x="0" y="366"/>
                  </a:moveTo>
                  <a:lnTo>
                    <a:pt x="1282" y="0"/>
                  </a:lnTo>
                  <a:lnTo>
                    <a:pt x="1288" y="12"/>
                  </a:lnTo>
                  <a:lnTo>
                    <a:pt x="1295" y="25"/>
                  </a:lnTo>
                  <a:lnTo>
                    <a:pt x="1302" y="37"/>
                  </a:lnTo>
                  <a:lnTo>
                    <a:pt x="1310" y="49"/>
                  </a:lnTo>
                  <a:lnTo>
                    <a:pt x="1327" y="73"/>
                  </a:lnTo>
                  <a:lnTo>
                    <a:pt x="1344" y="96"/>
                  </a:lnTo>
                  <a:lnTo>
                    <a:pt x="57" y="464"/>
                  </a:lnTo>
                  <a:lnTo>
                    <a:pt x="44" y="442"/>
                  </a:lnTo>
                  <a:lnTo>
                    <a:pt x="30" y="418"/>
                  </a:lnTo>
                  <a:lnTo>
                    <a:pt x="15" y="392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Freeform 557"/>
            <p:cNvSpPr>
              <a:spLocks/>
            </p:cNvSpPr>
            <p:nvPr/>
          </p:nvSpPr>
          <p:spPr bwMode="auto">
            <a:xfrm>
              <a:off x="789272" y="4478887"/>
              <a:ext cx="984557" cy="340809"/>
            </a:xfrm>
            <a:custGeom>
              <a:avLst/>
              <a:gdLst>
                <a:gd name="T0" fmla="*/ 0 w 1351"/>
                <a:gd name="T1" fmla="*/ 366 h 466"/>
                <a:gd name="T2" fmla="*/ 1282 w 1351"/>
                <a:gd name="T3" fmla="*/ 0 h 466"/>
                <a:gd name="T4" fmla="*/ 1298 w 1351"/>
                <a:gd name="T5" fmla="*/ 24 h 466"/>
                <a:gd name="T6" fmla="*/ 1316 w 1351"/>
                <a:gd name="T7" fmla="*/ 47 h 466"/>
                <a:gd name="T8" fmla="*/ 1334 w 1351"/>
                <a:gd name="T9" fmla="*/ 71 h 466"/>
                <a:gd name="T10" fmla="*/ 1351 w 1351"/>
                <a:gd name="T11" fmla="*/ 95 h 466"/>
                <a:gd name="T12" fmla="*/ 54 w 1351"/>
                <a:gd name="T13" fmla="*/ 466 h 466"/>
                <a:gd name="T14" fmla="*/ 43 w 1351"/>
                <a:gd name="T15" fmla="*/ 441 h 466"/>
                <a:gd name="T16" fmla="*/ 30 w 1351"/>
                <a:gd name="T17" fmla="*/ 417 h 466"/>
                <a:gd name="T18" fmla="*/ 16 w 1351"/>
                <a:gd name="T19" fmla="*/ 393 h 466"/>
                <a:gd name="T20" fmla="*/ 0 w 1351"/>
                <a:gd name="T21" fmla="*/ 3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51" h="466">
                  <a:moveTo>
                    <a:pt x="0" y="366"/>
                  </a:moveTo>
                  <a:lnTo>
                    <a:pt x="1282" y="0"/>
                  </a:lnTo>
                  <a:lnTo>
                    <a:pt x="1298" y="24"/>
                  </a:lnTo>
                  <a:lnTo>
                    <a:pt x="1316" y="47"/>
                  </a:lnTo>
                  <a:lnTo>
                    <a:pt x="1334" y="71"/>
                  </a:lnTo>
                  <a:lnTo>
                    <a:pt x="1351" y="95"/>
                  </a:lnTo>
                  <a:lnTo>
                    <a:pt x="54" y="466"/>
                  </a:lnTo>
                  <a:lnTo>
                    <a:pt x="43" y="441"/>
                  </a:lnTo>
                  <a:lnTo>
                    <a:pt x="30" y="417"/>
                  </a:lnTo>
                  <a:lnTo>
                    <a:pt x="16" y="393"/>
                  </a:lnTo>
                  <a:lnTo>
                    <a:pt x="0" y="36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Freeform 558"/>
            <p:cNvSpPr>
              <a:spLocks/>
            </p:cNvSpPr>
            <p:nvPr/>
          </p:nvSpPr>
          <p:spPr bwMode="auto">
            <a:xfrm>
              <a:off x="809661" y="4513841"/>
              <a:ext cx="984557" cy="343721"/>
            </a:xfrm>
            <a:custGeom>
              <a:avLst/>
              <a:gdLst>
                <a:gd name="T0" fmla="*/ 0 w 1352"/>
                <a:gd name="T1" fmla="*/ 368 h 471"/>
                <a:gd name="T2" fmla="*/ 1287 w 1352"/>
                <a:gd name="T3" fmla="*/ 0 h 471"/>
                <a:gd name="T4" fmla="*/ 1305 w 1352"/>
                <a:gd name="T5" fmla="*/ 23 h 471"/>
                <a:gd name="T6" fmla="*/ 1321 w 1352"/>
                <a:gd name="T7" fmla="*/ 47 h 471"/>
                <a:gd name="T8" fmla="*/ 1337 w 1352"/>
                <a:gd name="T9" fmla="*/ 71 h 471"/>
                <a:gd name="T10" fmla="*/ 1352 w 1352"/>
                <a:gd name="T11" fmla="*/ 96 h 471"/>
                <a:gd name="T12" fmla="*/ 39 w 1352"/>
                <a:gd name="T13" fmla="*/ 471 h 471"/>
                <a:gd name="T14" fmla="*/ 37 w 1352"/>
                <a:gd name="T15" fmla="*/ 457 h 471"/>
                <a:gd name="T16" fmla="*/ 33 w 1352"/>
                <a:gd name="T17" fmla="*/ 444 h 471"/>
                <a:gd name="T18" fmla="*/ 29 w 1352"/>
                <a:gd name="T19" fmla="*/ 432 h 471"/>
                <a:gd name="T20" fmla="*/ 25 w 1352"/>
                <a:gd name="T21" fmla="*/ 420 h 471"/>
                <a:gd name="T22" fmla="*/ 13 w 1352"/>
                <a:gd name="T23" fmla="*/ 394 h 471"/>
                <a:gd name="T24" fmla="*/ 0 w 1352"/>
                <a:gd name="T25" fmla="*/ 368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2" h="471">
                  <a:moveTo>
                    <a:pt x="0" y="368"/>
                  </a:moveTo>
                  <a:lnTo>
                    <a:pt x="1287" y="0"/>
                  </a:lnTo>
                  <a:lnTo>
                    <a:pt x="1305" y="23"/>
                  </a:lnTo>
                  <a:lnTo>
                    <a:pt x="1321" y="47"/>
                  </a:lnTo>
                  <a:lnTo>
                    <a:pt x="1337" y="71"/>
                  </a:lnTo>
                  <a:lnTo>
                    <a:pt x="1352" y="96"/>
                  </a:lnTo>
                  <a:lnTo>
                    <a:pt x="39" y="471"/>
                  </a:lnTo>
                  <a:lnTo>
                    <a:pt x="37" y="457"/>
                  </a:lnTo>
                  <a:lnTo>
                    <a:pt x="33" y="444"/>
                  </a:lnTo>
                  <a:lnTo>
                    <a:pt x="29" y="432"/>
                  </a:lnTo>
                  <a:lnTo>
                    <a:pt x="25" y="420"/>
                  </a:lnTo>
                  <a:lnTo>
                    <a:pt x="13" y="394"/>
                  </a:lnTo>
                  <a:lnTo>
                    <a:pt x="0" y="3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Freeform 559"/>
            <p:cNvSpPr>
              <a:spLocks/>
            </p:cNvSpPr>
            <p:nvPr/>
          </p:nvSpPr>
          <p:spPr bwMode="auto">
            <a:xfrm>
              <a:off x="830052" y="4548796"/>
              <a:ext cx="981645" cy="349547"/>
            </a:xfrm>
            <a:custGeom>
              <a:avLst/>
              <a:gdLst>
                <a:gd name="T0" fmla="*/ 0 w 1348"/>
                <a:gd name="T1" fmla="*/ 371 h 480"/>
                <a:gd name="T2" fmla="*/ 1297 w 1348"/>
                <a:gd name="T3" fmla="*/ 0 h 480"/>
                <a:gd name="T4" fmla="*/ 1312 w 1348"/>
                <a:gd name="T5" fmla="*/ 22 h 480"/>
                <a:gd name="T6" fmla="*/ 1326 w 1348"/>
                <a:gd name="T7" fmla="*/ 47 h 480"/>
                <a:gd name="T8" fmla="*/ 1332 w 1348"/>
                <a:gd name="T9" fmla="*/ 59 h 480"/>
                <a:gd name="T10" fmla="*/ 1339 w 1348"/>
                <a:gd name="T11" fmla="*/ 72 h 480"/>
                <a:gd name="T12" fmla="*/ 1344 w 1348"/>
                <a:gd name="T13" fmla="*/ 86 h 480"/>
                <a:gd name="T14" fmla="*/ 1348 w 1348"/>
                <a:gd name="T15" fmla="*/ 99 h 480"/>
                <a:gd name="T16" fmla="*/ 13 w 1348"/>
                <a:gd name="T17" fmla="*/ 480 h 480"/>
                <a:gd name="T18" fmla="*/ 15 w 1348"/>
                <a:gd name="T19" fmla="*/ 465 h 480"/>
                <a:gd name="T20" fmla="*/ 15 w 1348"/>
                <a:gd name="T21" fmla="*/ 451 h 480"/>
                <a:gd name="T22" fmla="*/ 15 w 1348"/>
                <a:gd name="T23" fmla="*/ 436 h 480"/>
                <a:gd name="T24" fmla="*/ 14 w 1348"/>
                <a:gd name="T25" fmla="*/ 423 h 480"/>
                <a:gd name="T26" fmla="*/ 12 w 1348"/>
                <a:gd name="T27" fmla="*/ 409 h 480"/>
                <a:gd name="T28" fmla="*/ 8 w 1348"/>
                <a:gd name="T29" fmla="*/ 396 h 480"/>
                <a:gd name="T30" fmla="*/ 4 w 1348"/>
                <a:gd name="T31" fmla="*/ 384 h 480"/>
                <a:gd name="T32" fmla="*/ 0 w 1348"/>
                <a:gd name="T33" fmla="*/ 37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8" h="480">
                  <a:moveTo>
                    <a:pt x="0" y="371"/>
                  </a:moveTo>
                  <a:lnTo>
                    <a:pt x="1297" y="0"/>
                  </a:lnTo>
                  <a:lnTo>
                    <a:pt x="1312" y="22"/>
                  </a:lnTo>
                  <a:lnTo>
                    <a:pt x="1326" y="47"/>
                  </a:lnTo>
                  <a:lnTo>
                    <a:pt x="1332" y="59"/>
                  </a:lnTo>
                  <a:lnTo>
                    <a:pt x="1339" y="72"/>
                  </a:lnTo>
                  <a:lnTo>
                    <a:pt x="1344" y="86"/>
                  </a:lnTo>
                  <a:lnTo>
                    <a:pt x="1348" y="99"/>
                  </a:lnTo>
                  <a:lnTo>
                    <a:pt x="13" y="480"/>
                  </a:lnTo>
                  <a:lnTo>
                    <a:pt x="15" y="465"/>
                  </a:lnTo>
                  <a:lnTo>
                    <a:pt x="15" y="451"/>
                  </a:lnTo>
                  <a:lnTo>
                    <a:pt x="15" y="436"/>
                  </a:lnTo>
                  <a:lnTo>
                    <a:pt x="14" y="423"/>
                  </a:lnTo>
                  <a:lnTo>
                    <a:pt x="12" y="409"/>
                  </a:lnTo>
                  <a:lnTo>
                    <a:pt x="8" y="396"/>
                  </a:lnTo>
                  <a:lnTo>
                    <a:pt x="4" y="384"/>
                  </a:lnTo>
                  <a:lnTo>
                    <a:pt x="0" y="37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Freeform 560"/>
            <p:cNvSpPr>
              <a:spLocks/>
            </p:cNvSpPr>
            <p:nvPr/>
          </p:nvSpPr>
          <p:spPr bwMode="auto">
            <a:xfrm>
              <a:off x="827138" y="4583751"/>
              <a:ext cx="993297" cy="361199"/>
            </a:xfrm>
            <a:custGeom>
              <a:avLst/>
              <a:gdLst>
                <a:gd name="T0" fmla="*/ 19 w 1364"/>
                <a:gd name="T1" fmla="*/ 375 h 495"/>
                <a:gd name="T2" fmla="*/ 1332 w 1364"/>
                <a:gd name="T3" fmla="*/ 0 h 495"/>
                <a:gd name="T4" fmla="*/ 1337 w 1364"/>
                <a:gd name="T5" fmla="*/ 12 h 495"/>
                <a:gd name="T6" fmla="*/ 1344 w 1364"/>
                <a:gd name="T7" fmla="*/ 24 h 495"/>
                <a:gd name="T8" fmla="*/ 1348 w 1364"/>
                <a:gd name="T9" fmla="*/ 37 h 495"/>
                <a:gd name="T10" fmla="*/ 1352 w 1364"/>
                <a:gd name="T11" fmla="*/ 49 h 495"/>
                <a:gd name="T12" fmla="*/ 1357 w 1364"/>
                <a:gd name="T13" fmla="*/ 62 h 495"/>
                <a:gd name="T14" fmla="*/ 1360 w 1364"/>
                <a:gd name="T15" fmla="*/ 76 h 495"/>
                <a:gd name="T16" fmla="*/ 1362 w 1364"/>
                <a:gd name="T17" fmla="*/ 90 h 495"/>
                <a:gd name="T18" fmla="*/ 1364 w 1364"/>
                <a:gd name="T19" fmla="*/ 105 h 495"/>
                <a:gd name="T20" fmla="*/ 0 w 1364"/>
                <a:gd name="T21" fmla="*/ 495 h 495"/>
                <a:gd name="T22" fmla="*/ 7 w 1364"/>
                <a:gd name="T23" fmla="*/ 478 h 495"/>
                <a:gd name="T24" fmla="*/ 11 w 1364"/>
                <a:gd name="T25" fmla="*/ 461 h 495"/>
                <a:gd name="T26" fmla="*/ 15 w 1364"/>
                <a:gd name="T27" fmla="*/ 445 h 495"/>
                <a:gd name="T28" fmla="*/ 18 w 1364"/>
                <a:gd name="T29" fmla="*/ 430 h 495"/>
                <a:gd name="T30" fmla="*/ 20 w 1364"/>
                <a:gd name="T31" fmla="*/ 416 h 495"/>
                <a:gd name="T32" fmla="*/ 20 w 1364"/>
                <a:gd name="T33" fmla="*/ 402 h 495"/>
                <a:gd name="T34" fmla="*/ 20 w 1364"/>
                <a:gd name="T35" fmla="*/ 388 h 495"/>
                <a:gd name="T36" fmla="*/ 19 w 1364"/>
                <a:gd name="T37" fmla="*/ 37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64" h="495">
                  <a:moveTo>
                    <a:pt x="19" y="375"/>
                  </a:moveTo>
                  <a:lnTo>
                    <a:pt x="1332" y="0"/>
                  </a:lnTo>
                  <a:lnTo>
                    <a:pt x="1337" y="12"/>
                  </a:lnTo>
                  <a:lnTo>
                    <a:pt x="1344" y="24"/>
                  </a:lnTo>
                  <a:lnTo>
                    <a:pt x="1348" y="37"/>
                  </a:lnTo>
                  <a:lnTo>
                    <a:pt x="1352" y="49"/>
                  </a:lnTo>
                  <a:lnTo>
                    <a:pt x="1357" y="62"/>
                  </a:lnTo>
                  <a:lnTo>
                    <a:pt x="1360" y="76"/>
                  </a:lnTo>
                  <a:lnTo>
                    <a:pt x="1362" y="90"/>
                  </a:lnTo>
                  <a:lnTo>
                    <a:pt x="1364" y="105"/>
                  </a:lnTo>
                  <a:lnTo>
                    <a:pt x="0" y="495"/>
                  </a:lnTo>
                  <a:lnTo>
                    <a:pt x="7" y="478"/>
                  </a:lnTo>
                  <a:lnTo>
                    <a:pt x="11" y="461"/>
                  </a:lnTo>
                  <a:lnTo>
                    <a:pt x="15" y="445"/>
                  </a:lnTo>
                  <a:lnTo>
                    <a:pt x="18" y="430"/>
                  </a:lnTo>
                  <a:lnTo>
                    <a:pt x="20" y="416"/>
                  </a:lnTo>
                  <a:lnTo>
                    <a:pt x="20" y="402"/>
                  </a:lnTo>
                  <a:lnTo>
                    <a:pt x="20" y="388"/>
                  </a:lnTo>
                  <a:lnTo>
                    <a:pt x="19" y="37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Freeform 561"/>
            <p:cNvSpPr>
              <a:spLocks/>
            </p:cNvSpPr>
            <p:nvPr/>
          </p:nvSpPr>
          <p:spPr bwMode="auto">
            <a:xfrm>
              <a:off x="800923" y="4621619"/>
              <a:ext cx="1019512" cy="372850"/>
            </a:xfrm>
            <a:custGeom>
              <a:avLst/>
              <a:gdLst>
                <a:gd name="T0" fmla="*/ 51 w 1398"/>
                <a:gd name="T1" fmla="*/ 381 h 510"/>
                <a:gd name="T2" fmla="*/ 1386 w 1398"/>
                <a:gd name="T3" fmla="*/ 0 h 510"/>
                <a:gd name="T4" fmla="*/ 1391 w 1398"/>
                <a:gd name="T5" fmla="*/ 14 h 510"/>
                <a:gd name="T6" fmla="*/ 1394 w 1398"/>
                <a:gd name="T7" fmla="*/ 29 h 510"/>
                <a:gd name="T8" fmla="*/ 1396 w 1398"/>
                <a:gd name="T9" fmla="*/ 43 h 510"/>
                <a:gd name="T10" fmla="*/ 1398 w 1398"/>
                <a:gd name="T11" fmla="*/ 59 h 510"/>
                <a:gd name="T12" fmla="*/ 1398 w 1398"/>
                <a:gd name="T13" fmla="*/ 68 h 510"/>
                <a:gd name="T14" fmla="*/ 1398 w 1398"/>
                <a:gd name="T15" fmla="*/ 76 h 510"/>
                <a:gd name="T16" fmla="*/ 1397 w 1398"/>
                <a:gd name="T17" fmla="*/ 82 h 510"/>
                <a:gd name="T18" fmla="*/ 1395 w 1398"/>
                <a:gd name="T19" fmla="*/ 88 h 510"/>
                <a:gd name="T20" fmla="*/ 1392 w 1398"/>
                <a:gd name="T21" fmla="*/ 92 h 510"/>
                <a:gd name="T22" fmla="*/ 1386 w 1398"/>
                <a:gd name="T23" fmla="*/ 95 h 510"/>
                <a:gd name="T24" fmla="*/ 1380 w 1398"/>
                <a:gd name="T25" fmla="*/ 100 h 510"/>
                <a:gd name="T26" fmla="*/ 1371 w 1398"/>
                <a:gd name="T27" fmla="*/ 104 h 510"/>
                <a:gd name="T28" fmla="*/ 1276 w 1398"/>
                <a:gd name="T29" fmla="*/ 146 h 510"/>
                <a:gd name="T30" fmla="*/ 0 w 1398"/>
                <a:gd name="T31" fmla="*/ 510 h 510"/>
                <a:gd name="T32" fmla="*/ 11 w 1398"/>
                <a:gd name="T33" fmla="*/ 492 h 510"/>
                <a:gd name="T34" fmla="*/ 19 w 1398"/>
                <a:gd name="T35" fmla="*/ 474 h 510"/>
                <a:gd name="T36" fmla="*/ 28 w 1398"/>
                <a:gd name="T37" fmla="*/ 457 h 510"/>
                <a:gd name="T38" fmla="*/ 35 w 1398"/>
                <a:gd name="T39" fmla="*/ 441 h 510"/>
                <a:gd name="T40" fmla="*/ 40 w 1398"/>
                <a:gd name="T41" fmla="*/ 425 h 510"/>
                <a:gd name="T42" fmla="*/ 44 w 1398"/>
                <a:gd name="T43" fmla="*/ 410 h 510"/>
                <a:gd name="T44" fmla="*/ 48 w 1398"/>
                <a:gd name="T45" fmla="*/ 395 h 510"/>
                <a:gd name="T46" fmla="*/ 51 w 1398"/>
                <a:gd name="T47" fmla="*/ 381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98" h="510">
                  <a:moveTo>
                    <a:pt x="51" y="381"/>
                  </a:moveTo>
                  <a:lnTo>
                    <a:pt x="1386" y="0"/>
                  </a:lnTo>
                  <a:lnTo>
                    <a:pt x="1391" y="14"/>
                  </a:lnTo>
                  <a:lnTo>
                    <a:pt x="1394" y="29"/>
                  </a:lnTo>
                  <a:lnTo>
                    <a:pt x="1396" y="43"/>
                  </a:lnTo>
                  <a:lnTo>
                    <a:pt x="1398" y="59"/>
                  </a:lnTo>
                  <a:lnTo>
                    <a:pt x="1398" y="68"/>
                  </a:lnTo>
                  <a:lnTo>
                    <a:pt x="1398" y="76"/>
                  </a:lnTo>
                  <a:lnTo>
                    <a:pt x="1397" y="82"/>
                  </a:lnTo>
                  <a:lnTo>
                    <a:pt x="1395" y="88"/>
                  </a:lnTo>
                  <a:lnTo>
                    <a:pt x="1392" y="92"/>
                  </a:lnTo>
                  <a:lnTo>
                    <a:pt x="1386" y="95"/>
                  </a:lnTo>
                  <a:lnTo>
                    <a:pt x="1380" y="100"/>
                  </a:lnTo>
                  <a:lnTo>
                    <a:pt x="1371" y="104"/>
                  </a:lnTo>
                  <a:lnTo>
                    <a:pt x="1276" y="146"/>
                  </a:lnTo>
                  <a:lnTo>
                    <a:pt x="0" y="510"/>
                  </a:lnTo>
                  <a:lnTo>
                    <a:pt x="11" y="492"/>
                  </a:lnTo>
                  <a:lnTo>
                    <a:pt x="19" y="474"/>
                  </a:lnTo>
                  <a:lnTo>
                    <a:pt x="28" y="457"/>
                  </a:lnTo>
                  <a:lnTo>
                    <a:pt x="35" y="441"/>
                  </a:lnTo>
                  <a:lnTo>
                    <a:pt x="40" y="425"/>
                  </a:lnTo>
                  <a:lnTo>
                    <a:pt x="44" y="410"/>
                  </a:lnTo>
                  <a:lnTo>
                    <a:pt x="48" y="395"/>
                  </a:lnTo>
                  <a:lnTo>
                    <a:pt x="51" y="38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Freeform 562"/>
            <p:cNvSpPr>
              <a:spLocks/>
            </p:cNvSpPr>
            <p:nvPr/>
          </p:nvSpPr>
          <p:spPr bwMode="auto">
            <a:xfrm>
              <a:off x="768880" y="4662400"/>
              <a:ext cx="1051555" cy="381590"/>
            </a:xfrm>
            <a:custGeom>
              <a:avLst/>
              <a:gdLst>
                <a:gd name="T0" fmla="*/ 78 w 1443"/>
                <a:gd name="T1" fmla="*/ 390 h 526"/>
                <a:gd name="T2" fmla="*/ 1442 w 1443"/>
                <a:gd name="T3" fmla="*/ 0 h 526"/>
                <a:gd name="T4" fmla="*/ 1443 w 1443"/>
                <a:gd name="T5" fmla="*/ 5 h 526"/>
                <a:gd name="T6" fmla="*/ 1443 w 1443"/>
                <a:gd name="T7" fmla="*/ 14 h 526"/>
                <a:gd name="T8" fmla="*/ 1443 w 1443"/>
                <a:gd name="T9" fmla="*/ 22 h 526"/>
                <a:gd name="T10" fmla="*/ 1442 w 1443"/>
                <a:gd name="T11" fmla="*/ 28 h 526"/>
                <a:gd name="T12" fmla="*/ 1440 w 1443"/>
                <a:gd name="T13" fmla="*/ 34 h 526"/>
                <a:gd name="T14" fmla="*/ 1437 w 1443"/>
                <a:gd name="T15" fmla="*/ 38 h 526"/>
                <a:gd name="T16" fmla="*/ 1431 w 1443"/>
                <a:gd name="T17" fmla="*/ 41 h 526"/>
                <a:gd name="T18" fmla="*/ 1425 w 1443"/>
                <a:gd name="T19" fmla="*/ 46 h 526"/>
                <a:gd name="T20" fmla="*/ 1416 w 1443"/>
                <a:gd name="T21" fmla="*/ 50 h 526"/>
                <a:gd name="T22" fmla="*/ 1313 w 1443"/>
                <a:gd name="T23" fmla="*/ 95 h 526"/>
                <a:gd name="T24" fmla="*/ 1312 w 1443"/>
                <a:gd name="T25" fmla="*/ 106 h 526"/>
                <a:gd name="T26" fmla="*/ 1312 w 1443"/>
                <a:gd name="T27" fmla="*/ 119 h 526"/>
                <a:gd name="T28" fmla="*/ 1311 w 1443"/>
                <a:gd name="T29" fmla="*/ 135 h 526"/>
                <a:gd name="T30" fmla="*/ 1310 w 1443"/>
                <a:gd name="T31" fmla="*/ 152 h 526"/>
                <a:gd name="T32" fmla="*/ 0 w 1443"/>
                <a:gd name="T33" fmla="*/ 526 h 526"/>
                <a:gd name="T34" fmla="*/ 26 w 1443"/>
                <a:gd name="T35" fmla="*/ 488 h 526"/>
                <a:gd name="T36" fmla="*/ 47 w 1443"/>
                <a:gd name="T37" fmla="*/ 452 h 526"/>
                <a:gd name="T38" fmla="*/ 57 w 1443"/>
                <a:gd name="T39" fmla="*/ 436 h 526"/>
                <a:gd name="T40" fmla="*/ 64 w 1443"/>
                <a:gd name="T41" fmla="*/ 420 h 526"/>
                <a:gd name="T42" fmla="*/ 72 w 1443"/>
                <a:gd name="T43" fmla="*/ 405 h 526"/>
                <a:gd name="T44" fmla="*/ 78 w 1443"/>
                <a:gd name="T45" fmla="*/ 39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3" h="526">
                  <a:moveTo>
                    <a:pt x="78" y="390"/>
                  </a:moveTo>
                  <a:lnTo>
                    <a:pt x="1442" y="0"/>
                  </a:lnTo>
                  <a:lnTo>
                    <a:pt x="1443" y="5"/>
                  </a:lnTo>
                  <a:lnTo>
                    <a:pt x="1443" y="14"/>
                  </a:lnTo>
                  <a:lnTo>
                    <a:pt x="1443" y="22"/>
                  </a:lnTo>
                  <a:lnTo>
                    <a:pt x="1442" y="28"/>
                  </a:lnTo>
                  <a:lnTo>
                    <a:pt x="1440" y="34"/>
                  </a:lnTo>
                  <a:lnTo>
                    <a:pt x="1437" y="38"/>
                  </a:lnTo>
                  <a:lnTo>
                    <a:pt x="1431" y="41"/>
                  </a:lnTo>
                  <a:lnTo>
                    <a:pt x="1425" y="46"/>
                  </a:lnTo>
                  <a:lnTo>
                    <a:pt x="1416" y="50"/>
                  </a:lnTo>
                  <a:lnTo>
                    <a:pt x="1313" y="95"/>
                  </a:lnTo>
                  <a:lnTo>
                    <a:pt x="1312" y="106"/>
                  </a:lnTo>
                  <a:lnTo>
                    <a:pt x="1312" y="119"/>
                  </a:lnTo>
                  <a:lnTo>
                    <a:pt x="1311" y="135"/>
                  </a:lnTo>
                  <a:lnTo>
                    <a:pt x="1310" y="152"/>
                  </a:lnTo>
                  <a:lnTo>
                    <a:pt x="0" y="526"/>
                  </a:lnTo>
                  <a:lnTo>
                    <a:pt x="26" y="488"/>
                  </a:lnTo>
                  <a:lnTo>
                    <a:pt x="47" y="452"/>
                  </a:lnTo>
                  <a:lnTo>
                    <a:pt x="57" y="436"/>
                  </a:lnTo>
                  <a:lnTo>
                    <a:pt x="64" y="420"/>
                  </a:lnTo>
                  <a:lnTo>
                    <a:pt x="72" y="405"/>
                  </a:lnTo>
                  <a:lnTo>
                    <a:pt x="78" y="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Freeform 563"/>
            <p:cNvSpPr>
              <a:spLocks/>
            </p:cNvSpPr>
            <p:nvPr/>
          </p:nvSpPr>
          <p:spPr bwMode="auto">
            <a:xfrm>
              <a:off x="731014" y="4726483"/>
              <a:ext cx="999123" cy="369938"/>
            </a:xfrm>
            <a:custGeom>
              <a:avLst/>
              <a:gdLst>
                <a:gd name="T0" fmla="*/ 99 w 1375"/>
                <a:gd name="T1" fmla="*/ 364 h 506"/>
                <a:gd name="T2" fmla="*/ 1375 w 1375"/>
                <a:gd name="T3" fmla="*/ 0 h 506"/>
                <a:gd name="T4" fmla="*/ 1367 w 1375"/>
                <a:gd name="T5" fmla="*/ 3 h 506"/>
                <a:gd name="T6" fmla="*/ 1366 w 1375"/>
                <a:gd name="T7" fmla="*/ 22 h 506"/>
                <a:gd name="T8" fmla="*/ 1364 w 1375"/>
                <a:gd name="T9" fmla="*/ 49 h 506"/>
                <a:gd name="T10" fmla="*/ 1362 w 1375"/>
                <a:gd name="T11" fmla="*/ 82 h 506"/>
                <a:gd name="T12" fmla="*/ 1360 w 1375"/>
                <a:gd name="T13" fmla="*/ 118 h 506"/>
                <a:gd name="T14" fmla="*/ 0 w 1375"/>
                <a:gd name="T15" fmla="*/ 506 h 506"/>
                <a:gd name="T16" fmla="*/ 30 w 1375"/>
                <a:gd name="T17" fmla="*/ 468 h 506"/>
                <a:gd name="T18" fmla="*/ 57 w 1375"/>
                <a:gd name="T19" fmla="*/ 430 h 506"/>
                <a:gd name="T20" fmla="*/ 80 w 1375"/>
                <a:gd name="T21" fmla="*/ 396 h 506"/>
                <a:gd name="T22" fmla="*/ 99 w 1375"/>
                <a:gd name="T23" fmla="*/ 364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75" h="506">
                  <a:moveTo>
                    <a:pt x="99" y="364"/>
                  </a:moveTo>
                  <a:lnTo>
                    <a:pt x="1375" y="0"/>
                  </a:lnTo>
                  <a:lnTo>
                    <a:pt x="1367" y="3"/>
                  </a:lnTo>
                  <a:lnTo>
                    <a:pt x="1366" y="22"/>
                  </a:lnTo>
                  <a:lnTo>
                    <a:pt x="1364" y="49"/>
                  </a:lnTo>
                  <a:lnTo>
                    <a:pt x="1362" y="82"/>
                  </a:lnTo>
                  <a:lnTo>
                    <a:pt x="1360" y="118"/>
                  </a:lnTo>
                  <a:lnTo>
                    <a:pt x="0" y="506"/>
                  </a:lnTo>
                  <a:lnTo>
                    <a:pt x="30" y="468"/>
                  </a:lnTo>
                  <a:lnTo>
                    <a:pt x="57" y="430"/>
                  </a:lnTo>
                  <a:lnTo>
                    <a:pt x="80" y="396"/>
                  </a:lnTo>
                  <a:lnTo>
                    <a:pt x="99" y="36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Freeform 564"/>
            <p:cNvSpPr>
              <a:spLocks/>
            </p:cNvSpPr>
            <p:nvPr/>
          </p:nvSpPr>
          <p:spPr bwMode="auto">
            <a:xfrm>
              <a:off x="684408" y="4773090"/>
              <a:ext cx="1036989" cy="378676"/>
            </a:xfrm>
            <a:custGeom>
              <a:avLst/>
              <a:gdLst>
                <a:gd name="T0" fmla="*/ 116 w 1426"/>
                <a:gd name="T1" fmla="*/ 374 h 522"/>
                <a:gd name="T2" fmla="*/ 1426 w 1426"/>
                <a:gd name="T3" fmla="*/ 0 h 522"/>
                <a:gd name="T4" fmla="*/ 1424 w 1426"/>
                <a:gd name="T5" fmla="*/ 26 h 522"/>
                <a:gd name="T6" fmla="*/ 1422 w 1426"/>
                <a:gd name="T7" fmla="*/ 54 h 522"/>
                <a:gd name="T8" fmla="*/ 1419 w 1426"/>
                <a:gd name="T9" fmla="*/ 85 h 522"/>
                <a:gd name="T10" fmla="*/ 1417 w 1426"/>
                <a:gd name="T11" fmla="*/ 116 h 522"/>
                <a:gd name="T12" fmla="*/ 0 w 1426"/>
                <a:gd name="T13" fmla="*/ 522 h 522"/>
                <a:gd name="T14" fmla="*/ 34 w 1426"/>
                <a:gd name="T15" fmla="*/ 481 h 522"/>
                <a:gd name="T16" fmla="*/ 64 w 1426"/>
                <a:gd name="T17" fmla="*/ 443 h 522"/>
                <a:gd name="T18" fmla="*/ 92 w 1426"/>
                <a:gd name="T19" fmla="*/ 408 h 522"/>
                <a:gd name="T20" fmla="*/ 116 w 1426"/>
                <a:gd name="T21" fmla="*/ 37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6" h="522">
                  <a:moveTo>
                    <a:pt x="116" y="374"/>
                  </a:moveTo>
                  <a:lnTo>
                    <a:pt x="1426" y="0"/>
                  </a:lnTo>
                  <a:lnTo>
                    <a:pt x="1424" y="26"/>
                  </a:lnTo>
                  <a:lnTo>
                    <a:pt x="1422" y="54"/>
                  </a:lnTo>
                  <a:lnTo>
                    <a:pt x="1419" y="85"/>
                  </a:lnTo>
                  <a:lnTo>
                    <a:pt x="1417" y="116"/>
                  </a:lnTo>
                  <a:lnTo>
                    <a:pt x="0" y="522"/>
                  </a:lnTo>
                  <a:lnTo>
                    <a:pt x="34" y="481"/>
                  </a:lnTo>
                  <a:lnTo>
                    <a:pt x="64" y="443"/>
                  </a:lnTo>
                  <a:lnTo>
                    <a:pt x="92" y="408"/>
                  </a:lnTo>
                  <a:lnTo>
                    <a:pt x="116" y="3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Freeform 565"/>
            <p:cNvSpPr>
              <a:spLocks/>
            </p:cNvSpPr>
            <p:nvPr/>
          </p:nvSpPr>
          <p:spPr bwMode="auto">
            <a:xfrm>
              <a:off x="681494" y="4813870"/>
              <a:ext cx="1036989" cy="364112"/>
            </a:xfrm>
            <a:custGeom>
              <a:avLst/>
              <a:gdLst>
                <a:gd name="T0" fmla="*/ 68 w 1428"/>
                <a:gd name="T1" fmla="*/ 388 h 501"/>
                <a:gd name="T2" fmla="*/ 1428 w 1428"/>
                <a:gd name="T3" fmla="*/ 0 h 501"/>
                <a:gd name="T4" fmla="*/ 1425 w 1428"/>
                <a:gd name="T5" fmla="*/ 28 h 501"/>
                <a:gd name="T6" fmla="*/ 1423 w 1428"/>
                <a:gd name="T7" fmla="*/ 57 h 501"/>
                <a:gd name="T8" fmla="*/ 1421 w 1428"/>
                <a:gd name="T9" fmla="*/ 86 h 501"/>
                <a:gd name="T10" fmla="*/ 1419 w 1428"/>
                <a:gd name="T11" fmla="*/ 117 h 501"/>
                <a:gd name="T12" fmla="*/ 75 w 1428"/>
                <a:gd name="T13" fmla="*/ 501 h 501"/>
                <a:gd name="T14" fmla="*/ 55 w 1428"/>
                <a:gd name="T15" fmla="*/ 494 h 501"/>
                <a:gd name="T16" fmla="*/ 37 w 1428"/>
                <a:gd name="T17" fmla="*/ 486 h 501"/>
                <a:gd name="T18" fmla="*/ 19 w 1428"/>
                <a:gd name="T19" fmla="*/ 479 h 501"/>
                <a:gd name="T20" fmla="*/ 0 w 1428"/>
                <a:gd name="T21" fmla="*/ 470 h 501"/>
                <a:gd name="T22" fmla="*/ 19 w 1428"/>
                <a:gd name="T23" fmla="*/ 449 h 501"/>
                <a:gd name="T24" fmla="*/ 36 w 1428"/>
                <a:gd name="T25" fmla="*/ 428 h 501"/>
                <a:gd name="T26" fmla="*/ 52 w 1428"/>
                <a:gd name="T27" fmla="*/ 408 h 501"/>
                <a:gd name="T28" fmla="*/ 68 w 1428"/>
                <a:gd name="T29" fmla="*/ 388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8" h="501">
                  <a:moveTo>
                    <a:pt x="68" y="388"/>
                  </a:moveTo>
                  <a:lnTo>
                    <a:pt x="1428" y="0"/>
                  </a:lnTo>
                  <a:lnTo>
                    <a:pt x="1425" y="28"/>
                  </a:lnTo>
                  <a:lnTo>
                    <a:pt x="1423" y="57"/>
                  </a:lnTo>
                  <a:lnTo>
                    <a:pt x="1421" y="86"/>
                  </a:lnTo>
                  <a:lnTo>
                    <a:pt x="1419" y="117"/>
                  </a:lnTo>
                  <a:lnTo>
                    <a:pt x="75" y="501"/>
                  </a:lnTo>
                  <a:lnTo>
                    <a:pt x="55" y="494"/>
                  </a:lnTo>
                  <a:lnTo>
                    <a:pt x="37" y="486"/>
                  </a:lnTo>
                  <a:lnTo>
                    <a:pt x="19" y="479"/>
                  </a:lnTo>
                  <a:lnTo>
                    <a:pt x="0" y="470"/>
                  </a:lnTo>
                  <a:lnTo>
                    <a:pt x="19" y="449"/>
                  </a:lnTo>
                  <a:lnTo>
                    <a:pt x="36" y="428"/>
                  </a:lnTo>
                  <a:lnTo>
                    <a:pt x="52" y="408"/>
                  </a:lnTo>
                  <a:lnTo>
                    <a:pt x="68" y="38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Freeform 566"/>
            <p:cNvSpPr>
              <a:spLocks/>
            </p:cNvSpPr>
            <p:nvPr/>
          </p:nvSpPr>
          <p:spPr bwMode="auto">
            <a:xfrm>
              <a:off x="681494" y="4857563"/>
              <a:ext cx="1034077" cy="343721"/>
            </a:xfrm>
            <a:custGeom>
              <a:avLst/>
              <a:gdLst>
                <a:gd name="T0" fmla="*/ 6 w 1423"/>
                <a:gd name="T1" fmla="*/ 406 h 475"/>
                <a:gd name="T2" fmla="*/ 1423 w 1423"/>
                <a:gd name="T3" fmla="*/ 0 h 475"/>
                <a:gd name="T4" fmla="*/ 1421 w 1423"/>
                <a:gd name="T5" fmla="*/ 29 h 475"/>
                <a:gd name="T6" fmla="*/ 1419 w 1423"/>
                <a:gd name="T7" fmla="*/ 59 h 475"/>
                <a:gd name="T8" fmla="*/ 1417 w 1423"/>
                <a:gd name="T9" fmla="*/ 88 h 475"/>
                <a:gd name="T10" fmla="*/ 1415 w 1423"/>
                <a:gd name="T11" fmla="*/ 117 h 475"/>
                <a:gd name="T12" fmla="*/ 166 w 1423"/>
                <a:gd name="T13" fmla="*/ 475 h 475"/>
                <a:gd name="T14" fmla="*/ 143 w 1423"/>
                <a:gd name="T15" fmla="*/ 467 h 475"/>
                <a:gd name="T16" fmla="*/ 122 w 1423"/>
                <a:gd name="T17" fmla="*/ 459 h 475"/>
                <a:gd name="T18" fmla="*/ 100 w 1423"/>
                <a:gd name="T19" fmla="*/ 452 h 475"/>
                <a:gd name="T20" fmla="*/ 79 w 1423"/>
                <a:gd name="T21" fmla="*/ 444 h 475"/>
                <a:gd name="T22" fmla="*/ 58 w 1423"/>
                <a:gd name="T23" fmla="*/ 437 h 475"/>
                <a:gd name="T24" fmla="*/ 38 w 1423"/>
                <a:gd name="T25" fmla="*/ 429 h 475"/>
                <a:gd name="T26" fmla="*/ 20 w 1423"/>
                <a:gd name="T27" fmla="*/ 421 h 475"/>
                <a:gd name="T28" fmla="*/ 0 w 1423"/>
                <a:gd name="T29" fmla="*/ 412 h 475"/>
                <a:gd name="T30" fmla="*/ 6 w 1423"/>
                <a:gd name="T31" fmla="*/ 406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23" h="475">
                  <a:moveTo>
                    <a:pt x="6" y="406"/>
                  </a:moveTo>
                  <a:lnTo>
                    <a:pt x="1423" y="0"/>
                  </a:lnTo>
                  <a:lnTo>
                    <a:pt x="1421" y="29"/>
                  </a:lnTo>
                  <a:lnTo>
                    <a:pt x="1419" y="59"/>
                  </a:lnTo>
                  <a:lnTo>
                    <a:pt x="1417" y="88"/>
                  </a:lnTo>
                  <a:lnTo>
                    <a:pt x="1415" y="117"/>
                  </a:lnTo>
                  <a:lnTo>
                    <a:pt x="166" y="475"/>
                  </a:lnTo>
                  <a:lnTo>
                    <a:pt x="143" y="467"/>
                  </a:lnTo>
                  <a:lnTo>
                    <a:pt x="122" y="459"/>
                  </a:lnTo>
                  <a:lnTo>
                    <a:pt x="100" y="452"/>
                  </a:lnTo>
                  <a:lnTo>
                    <a:pt x="79" y="444"/>
                  </a:lnTo>
                  <a:lnTo>
                    <a:pt x="58" y="437"/>
                  </a:lnTo>
                  <a:lnTo>
                    <a:pt x="38" y="429"/>
                  </a:lnTo>
                  <a:lnTo>
                    <a:pt x="20" y="421"/>
                  </a:lnTo>
                  <a:lnTo>
                    <a:pt x="0" y="412"/>
                  </a:lnTo>
                  <a:lnTo>
                    <a:pt x="6" y="40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Freeform 567"/>
            <p:cNvSpPr>
              <a:spLocks/>
            </p:cNvSpPr>
            <p:nvPr/>
          </p:nvSpPr>
          <p:spPr bwMode="auto">
            <a:xfrm>
              <a:off x="733926" y="4898343"/>
              <a:ext cx="978732" cy="326244"/>
            </a:xfrm>
            <a:custGeom>
              <a:avLst/>
              <a:gdLst>
                <a:gd name="T0" fmla="*/ 0 w 1344"/>
                <a:gd name="T1" fmla="*/ 384 h 448"/>
                <a:gd name="T2" fmla="*/ 1344 w 1344"/>
                <a:gd name="T3" fmla="*/ 0 h 448"/>
                <a:gd name="T4" fmla="*/ 1343 w 1344"/>
                <a:gd name="T5" fmla="*/ 15 h 448"/>
                <a:gd name="T6" fmla="*/ 1342 w 1344"/>
                <a:gd name="T7" fmla="*/ 30 h 448"/>
                <a:gd name="T8" fmla="*/ 1341 w 1344"/>
                <a:gd name="T9" fmla="*/ 46 h 448"/>
                <a:gd name="T10" fmla="*/ 1340 w 1344"/>
                <a:gd name="T11" fmla="*/ 61 h 448"/>
                <a:gd name="T12" fmla="*/ 1338 w 1344"/>
                <a:gd name="T13" fmla="*/ 75 h 448"/>
                <a:gd name="T14" fmla="*/ 1335 w 1344"/>
                <a:gd name="T15" fmla="*/ 89 h 448"/>
                <a:gd name="T16" fmla="*/ 1333 w 1344"/>
                <a:gd name="T17" fmla="*/ 104 h 448"/>
                <a:gd name="T18" fmla="*/ 1329 w 1344"/>
                <a:gd name="T19" fmla="*/ 119 h 448"/>
                <a:gd name="T20" fmla="*/ 175 w 1344"/>
                <a:gd name="T21" fmla="*/ 448 h 448"/>
                <a:gd name="T22" fmla="*/ 152 w 1344"/>
                <a:gd name="T23" fmla="*/ 438 h 448"/>
                <a:gd name="T24" fmla="*/ 131 w 1344"/>
                <a:gd name="T25" fmla="*/ 429 h 448"/>
                <a:gd name="T26" fmla="*/ 108 w 1344"/>
                <a:gd name="T27" fmla="*/ 421 h 448"/>
                <a:gd name="T28" fmla="*/ 86 w 1344"/>
                <a:gd name="T29" fmla="*/ 413 h 448"/>
                <a:gd name="T30" fmla="*/ 64 w 1344"/>
                <a:gd name="T31" fmla="*/ 406 h 448"/>
                <a:gd name="T32" fmla="*/ 43 w 1344"/>
                <a:gd name="T33" fmla="*/ 398 h 448"/>
                <a:gd name="T34" fmla="*/ 21 w 1344"/>
                <a:gd name="T35" fmla="*/ 392 h 448"/>
                <a:gd name="T36" fmla="*/ 0 w 1344"/>
                <a:gd name="T37" fmla="*/ 38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44" h="448">
                  <a:moveTo>
                    <a:pt x="0" y="384"/>
                  </a:moveTo>
                  <a:lnTo>
                    <a:pt x="1344" y="0"/>
                  </a:lnTo>
                  <a:lnTo>
                    <a:pt x="1343" y="15"/>
                  </a:lnTo>
                  <a:lnTo>
                    <a:pt x="1342" y="30"/>
                  </a:lnTo>
                  <a:lnTo>
                    <a:pt x="1341" y="46"/>
                  </a:lnTo>
                  <a:lnTo>
                    <a:pt x="1340" y="61"/>
                  </a:lnTo>
                  <a:lnTo>
                    <a:pt x="1338" y="75"/>
                  </a:lnTo>
                  <a:lnTo>
                    <a:pt x="1335" y="89"/>
                  </a:lnTo>
                  <a:lnTo>
                    <a:pt x="1333" y="104"/>
                  </a:lnTo>
                  <a:lnTo>
                    <a:pt x="1329" y="119"/>
                  </a:lnTo>
                  <a:lnTo>
                    <a:pt x="175" y="448"/>
                  </a:lnTo>
                  <a:lnTo>
                    <a:pt x="152" y="438"/>
                  </a:lnTo>
                  <a:lnTo>
                    <a:pt x="131" y="429"/>
                  </a:lnTo>
                  <a:lnTo>
                    <a:pt x="108" y="421"/>
                  </a:lnTo>
                  <a:lnTo>
                    <a:pt x="86" y="413"/>
                  </a:lnTo>
                  <a:lnTo>
                    <a:pt x="64" y="406"/>
                  </a:lnTo>
                  <a:lnTo>
                    <a:pt x="43" y="398"/>
                  </a:lnTo>
                  <a:lnTo>
                    <a:pt x="21" y="392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Freeform 568"/>
            <p:cNvSpPr>
              <a:spLocks/>
            </p:cNvSpPr>
            <p:nvPr/>
          </p:nvSpPr>
          <p:spPr bwMode="auto">
            <a:xfrm>
              <a:off x="800923" y="4942037"/>
              <a:ext cx="908822" cy="311680"/>
            </a:xfrm>
            <a:custGeom>
              <a:avLst/>
              <a:gdLst>
                <a:gd name="T0" fmla="*/ 0 w 1249"/>
                <a:gd name="T1" fmla="*/ 358 h 427"/>
                <a:gd name="T2" fmla="*/ 1249 w 1249"/>
                <a:gd name="T3" fmla="*/ 0 h 427"/>
                <a:gd name="T4" fmla="*/ 1249 w 1249"/>
                <a:gd name="T5" fmla="*/ 3 h 427"/>
                <a:gd name="T6" fmla="*/ 1247 w 1249"/>
                <a:gd name="T7" fmla="*/ 18 h 427"/>
                <a:gd name="T8" fmla="*/ 1244 w 1249"/>
                <a:gd name="T9" fmla="*/ 34 h 427"/>
                <a:gd name="T10" fmla="*/ 1241 w 1249"/>
                <a:gd name="T11" fmla="*/ 50 h 427"/>
                <a:gd name="T12" fmla="*/ 1237 w 1249"/>
                <a:gd name="T13" fmla="*/ 66 h 427"/>
                <a:gd name="T14" fmla="*/ 1230 w 1249"/>
                <a:gd name="T15" fmla="*/ 82 h 427"/>
                <a:gd name="T16" fmla="*/ 1224 w 1249"/>
                <a:gd name="T17" fmla="*/ 97 h 427"/>
                <a:gd name="T18" fmla="*/ 1215 w 1249"/>
                <a:gd name="T19" fmla="*/ 112 h 427"/>
                <a:gd name="T20" fmla="*/ 1206 w 1249"/>
                <a:gd name="T21" fmla="*/ 127 h 427"/>
                <a:gd name="T22" fmla="*/ 952 w 1249"/>
                <a:gd name="T23" fmla="*/ 199 h 427"/>
                <a:gd name="T24" fmla="*/ 721 w 1249"/>
                <a:gd name="T25" fmla="*/ 209 h 427"/>
                <a:gd name="T26" fmla="*/ 717 w 1249"/>
                <a:gd name="T27" fmla="*/ 225 h 427"/>
                <a:gd name="T28" fmla="*/ 714 w 1249"/>
                <a:gd name="T29" fmla="*/ 240 h 427"/>
                <a:gd name="T30" fmla="*/ 711 w 1249"/>
                <a:gd name="T31" fmla="*/ 255 h 427"/>
                <a:gd name="T32" fmla="*/ 708 w 1249"/>
                <a:gd name="T33" fmla="*/ 269 h 427"/>
                <a:gd name="T34" fmla="*/ 155 w 1249"/>
                <a:gd name="T35" fmla="*/ 427 h 427"/>
                <a:gd name="T36" fmla="*/ 143 w 1249"/>
                <a:gd name="T37" fmla="*/ 421 h 427"/>
                <a:gd name="T38" fmla="*/ 131 w 1249"/>
                <a:gd name="T39" fmla="*/ 413 h 427"/>
                <a:gd name="T40" fmla="*/ 118 w 1249"/>
                <a:gd name="T41" fmla="*/ 407 h 427"/>
                <a:gd name="T42" fmla="*/ 105 w 1249"/>
                <a:gd name="T43" fmla="*/ 401 h 427"/>
                <a:gd name="T44" fmla="*/ 80 w 1249"/>
                <a:gd name="T45" fmla="*/ 389 h 427"/>
                <a:gd name="T46" fmla="*/ 53 w 1249"/>
                <a:gd name="T47" fmla="*/ 377 h 427"/>
                <a:gd name="T48" fmla="*/ 27 w 1249"/>
                <a:gd name="T49" fmla="*/ 367 h 427"/>
                <a:gd name="T50" fmla="*/ 0 w 1249"/>
                <a:gd name="T51" fmla="*/ 358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9" h="427">
                  <a:moveTo>
                    <a:pt x="0" y="358"/>
                  </a:moveTo>
                  <a:lnTo>
                    <a:pt x="1249" y="0"/>
                  </a:lnTo>
                  <a:lnTo>
                    <a:pt x="1249" y="3"/>
                  </a:lnTo>
                  <a:lnTo>
                    <a:pt x="1247" y="18"/>
                  </a:lnTo>
                  <a:lnTo>
                    <a:pt x="1244" y="34"/>
                  </a:lnTo>
                  <a:lnTo>
                    <a:pt x="1241" y="50"/>
                  </a:lnTo>
                  <a:lnTo>
                    <a:pt x="1237" y="66"/>
                  </a:lnTo>
                  <a:lnTo>
                    <a:pt x="1230" y="82"/>
                  </a:lnTo>
                  <a:lnTo>
                    <a:pt x="1224" y="97"/>
                  </a:lnTo>
                  <a:lnTo>
                    <a:pt x="1215" y="112"/>
                  </a:lnTo>
                  <a:lnTo>
                    <a:pt x="1206" y="127"/>
                  </a:lnTo>
                  <a:lnTo>
                    <a:pt x="952" y="199"/>
                  </a:lnTo>
                  <a:lnTo>
                    <a:pt x="721" y="209"/>
                  </a:lnTo>
                  <a:lnTo>
                    <a:pt x="717" y="225"/>
                  </a:lnTo>
                  <a:lnTo>
                    <a:pt x="714" y="240"/>
                  </a:lnTo>
                  <a:lnTo>
                    <a:pt x="711" y="255"/>
                  </a:lnTo>
                  <a:lnTo>
                    <a:pt x="708" y="269"/>
                  </a:lnTo>
                  <a:lnTo>
                    <a:pt x="155" y="427"/>
                  </a:lnTo>
                  <a:lnTo>
                    <a:pt x="143" y="421"/>
                  </a:lnTo>
                  <a:lnTo>
                    <a:pt x="131" y="413"/>
                  </a:lnTo>
                  <a:lnTo>
                    <a:pt x="118" y="407"/>
                  </a:lnTo>
                  <a:lnTo>
                    <a:pt x="105" y="401"/>
                  </a:lnTo>
                  <a:lnTo>
                    <a:pt x="80" y="389"/>
                  </a:lnTo>
                  <a:lnTo>
                    <a:pt x="53" y="377"/>
                  </a:lnTo>
                  <a:lnTo>
                    <a:pt x="27" y="36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Freeform 569"/>
            <p:cNvSpPr>
              <a:spLocks/>
            </p:cNvSpPr>
            <p:nvPr/>
          </p:nvSpPr>
          <p:spPr bwMode="auto">
            <a:xfrm>
              <a:off x="862093" y="4985730"/>
              <a:ext cx="838913" cy="294203"/>
            </a:xfrm>
            <a:custGeom>
              <a:avLst/>
              <a:gdLst>
                <a:gd name="T0" fmla="*/ 0 w 1154"/>
                <a:gd name="T1" fmla="*/ 329 h 405"/>
                <a:gd name="T2" fmla="*/ 1154 w 1154"/>
                <a:gd name="T3" fmla="*/ 0 h 405"/>
                <a:gd name="T4" fmla="*/ 1150 w 1154"/>
                <a:gd name="T5" fmla="*/ 13 h 405"/>
                <a:gd name="T6" fmla="*/ 1145 w 1154"/>
                <a:gd name="T7" fmla="*/ 24 h 405"/>
                <a:gd name="T8" fmla="*/ 1140 w 1154"/>
                <a:gd name="T9" fmla="*/ 37 h 405"/>
                <a:gd name="T10" fmla="*/ 1133 w 1154"/>
                <a:gd name="T11" fmla="*/ 49 h 405"/>
                <a:gd name="T12" fmla="*/ 1126 w 1154"/>
                <a:gd name="T13" fmla="*/ 60 h 405"/>
                <a:gd name="T14" fmla="*/ 1117 w 1154"/>
                <a:gd name="T15" fmla="*/ 72 h 405"/>
                <a:gd name="T16" fmla="*/ 1108 w 1154"/>
                <a:gd name="T17" fmla="*/ 81 h 405"/>
                <a:gd name="T18" fmla="*/ 1098 w 1154"/>
                <a:gd name="T19" fmla="*/ 91 h 405"/>
                <a:gd name="T20" fmla="*/ 1086 w 1154"/>
                <a:gd name="T21" fmla="*/ 101 h 405"/>
                <a:gd name="T22" fmla="*/ 1074 w 1154"/>
                <a:gd name="T23" fmla="*/ 108 h 405"/>
                <a:gd name="T24" fmla="*/ 1060 w 1154"/>
                <a:gd name="T25" fmla="*/ 116 h 405"/>
                <a:gd name="T26" fmla="*/ 1045 w 1154"/>
                <a:gd name="T27" fmla="*/ 122 h 405"/>
                <a:gd name="T28" fmla="*/ 1029 w 1154"/>
                <a:gd name="T29" fmla="*/ 127 h 405"/>
                <a:gd name="T30" fmla="*/ 1012 w 1154"/>
                <a:gd name="T31" fmla="*/ 131 h 405"/>
                <a:gd name="T32" fmla="*/ 994 w 1154"/>
                <a:gd name="T33" fmla="*/ 133 h 405"/>
                <a:gd name="T34" fmla="*/ 973 w 1154"/>
                <a:gd name="T35" fmla="*/ 134 h 405"/>
                <a:gd name="T36" fmla="*/ 637 w 1154"/>
                <a:gd name="T37" fmla="*/ 148 h 405"/>
                <a:gd name="T38" fmla="*/ 629 w 1154"/>
                <a:gd name="T39" fmla="*/ 181 h 405"/>
                <a:gd name="T40" fmla="*/ 623 w 1154"/>
                <a:gd name="T41" fmla="*/ 213 h 405"/>
                <a:gd name="T42" fmla="*/ 616 w 1154"/>
                <a:gd name="T43" fmla="*/ 242 h 405"/>
                <a:gd name="T44" fmla="*/ 610 w 1154"/>
                <a:gd name="T45" fmla="*/ 270 h 405"/>
                <a:gd name="T46" fmla="*/ 133 w 1154"/>
                <a:gd name="T47" fmla="*/ 405 h 405"/>
                <a:gd name="T48" fmla="*/ 107 w 1154"/>
                <a:gd name="T49" fmla="*/ 388 h 405"/>
                <a:gd name="T50" fmla="*/ 81 w 1154"/>
                <a:gd name="T51" fmla="*/ 372 h 405"/>
                <a:gd name="T52" fmla="*/ 52 w 1154"/>
                <a:gd name="T53" fmla="*/ 356 h 405"/>
                <a:gd name="T54" fmla="*/ 21 w 1154"/>
                <a:gd name="T55" fmla="*/ 340 h 405"/>
                <a:gd name="T56" fmla="*/ 11 w 1154"/>
                <a:gd name="T57" fmla="*/ 334 h 405"/>
                <a:gd name="T58" fmla="*/ 0 w 1154"/>
                <a:gd name="T59" fmla="*/ 329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4" h="405">
                  <a:moveTo>
                    <a:pt x="0" y="329"/>
                  </a:moveTo>
                  <a:lnTo>
                    <a:pt x="1154" y="0"/>
                  </a:lnTo>
                  <a:lnTo>
                    <a:pt x="1150" y="13"/>
                  </a:lnTo>
                  <a:lnTo>
                    <a:pt x="1145" y="24"/>
                  </a:lnTo>
                  <a:lnTo>
                    <a:pt x="1140" y="37"/>
                  </a:lnTo>
                  <a:lnTo>
                    <a:pt x="1133" y="49"/>
                  </a:lnTo>
                  <a:lnTo>
                    <a:pt x="1126" y="60"/>
                  </a:lnTo>
                  <a:lnTo>
                    <a:pt x="1117" y="72"/>
                  </a:lnTo>
                  <a:lnTo>
                    <a:pt x="1108" y="81"/>
                  </a:lnTo>
                  <a:lnTo>
                    <a:pt x="1098" y="91"/>
                  </a:lnTo>
                  <a:lnTo>
                    <a:pt x="1086" y="101"/>
                  </a:lnTo>
                  <a:lnTo>
                    <a:pt x="1074" y="108"/>
                  </a:lnTo>
                  <a:lnTo>
                    <a:pt x="1060" y="116"/>
                  </a:lnTo>
                  <a:lnTo>
                    <a:pt x="1045" y="122"/>
                  </a:lnTo>
                  <a:lnTo>
                    <a:pt x="1029" y="127"/>
                  </a:lnTo>
                  <a:lnTo>
                    <a:pt x="1012" y="131"/>
                  </a:lnTo>
                  <a:lnTo>
                    <a:pt x="994" y="133"/>
                  </a:lnTo>
                  <a:lnTo>
                    <a:pt x="973" y="134"/>
                  </a:lnTo>
                  <a:lnTo>
                    <a:pt x="637" y="148"/>
                  </a:lnTo>
                  <a:lnTo>
                    <a:pt x="629" y="181"/>
                  </a:lnTo>
                  <a:lnTo>
                    <a:pt x="623" y="213"/>
                  </a:lnTo>
                  <a:lnTo>
                    <a:pt x="616" y="242"/>
                  </a:lnTo>
                  <a:lnTo>
                    <a:pt x="610" y="270"/>
                  </a:lnTo>
                  <a:lnTo>
                    <a:pt x="133" y="405"/>
                  </a:lnTo>
                  <a:lnTo>
                    <a:pt x="107" y="388"/>
                  </a:lnTo>
                  <a:lnTo>
                    <a:pt x="81" y="372"/>
                  </a:lnTo>
                  <a:lnTo>
                    <a:pt x="52" y="356"/>
                  </a:lnTo>
                  <a:lnTo>
                    <a:pt x="21" y="340"/>
                  </a:lnTo>
                  <a:lnTo>
                    <a:pt x="11" y="334"/>
                  </a:lnTo>
                  <a:lnTo>
                    <a:pt x="0" y="32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570"/>
            <p:cNvSpPr>
              <a:spLocks noEditPoints="1"/>
            </p:cNvSpPr>
            <p:nvPr/>
          </p:nvSpPr>
          <p:spPr bwMode="auto">
            <a:xfrm>
              <a:off x="914525" y="5035250"/>
              <a:ext cx="763178" cy="276726"/>
            </a:xfrm>
            <a:custGeom>
              <a:avLst/>
              <a:gdLst>
                <a:gd name="T0" fmla="*/ 0 w 1051"/>
                <a:gd name="T1" fmla="*/ 300 h 380"/>
                <a:gd name="T2" fmla="*/ 553 w 1051"/>
                <a:gd name="T3" fmla="*/ 142 h 380"/>
                <a:gd name="T4" fmla="*/ 544 w 1051"/>
                <a:gd name="T5" fmla="*/ 177 h 380"/>
                <a:gd name="T6" fmla="*/ 538 w 1051"/>
                <a:gd name="T7" fmla="*/ 208 h 380"/>
                <a:gd name="T8" fmla="*/ 530 w 1051"/>
                <a:gd name="T9" fmla="*/ 237 h 380"/>
                <a:gd name="T10" fmla="*/ 524 w 1051"/>
                <a:gd name="T11" fmla="*/ 265 h 380"/>
                <a:gd name="T12" fmla="*/ 119 w 1051"/>
                <a:gd name="T13" fmla="*/ 380 h 380"/>
                <a:gd name="T14" fmla="*/ 91 w 1051"/>
                <a:gd name="T15" fmla="*/ 360 h 380"/>
                <a:gd name="T16" fmla="*/ 62 w 1051"/>
                <a:gd name="T17" fmla="*/ 339 h 380"/>
                <a:gd name="T18" fmla="*/ 32 w 1051"/>
                <a:gd name="T19" fmla="*/ 320 h 380"/>
                <a:gd name="T20" fmla="*/ 0 w 1051"/>
                <a:gd name="T21" fmla="*/ 300 h 380"/>
                <a:gd name="T22" fmla="*/ 797 w 1051"/>
                <a:gd name="T23" fmla="*/ 72 h 380"/>
                <a:gd name="T24" fmla="*/ 1051 w 1051"/>
                <a:gd name="T25" fmla="*/ 0 h 380"/>
                <a:gd name="T26" fmla="*/ 1039 w 1051"/>
                <a:gd name="T27" fmla="*/ 14 h 380"/>
                <a:gd name="T28" fmla="*/ 1025 w 1051"/>
                <a:gd name="T29" fmla="*/ 26 h 380"/>
                <a:gd name="T30" fmla="*/ 1018 w 1051"/>
                <a:gd name="T31" fmla="*/ 33 h 380"/>
                <a:gd name="T32" fmla="*/ 1010 w 1051"/>
                <a:gd name="T33" fmla="*/ 38 h 380"/>
                <a:gd name="T34" fmla="*/ 1001 w 1051"/>
                <a:gd name="T35" fmla="*/ 43 h 380"/>
                <a:gd name="T36" fmla="*/ 993 w 1051"/>
                <a:gd name="T37" fmla="*/ 48 h 380"/>
                <a:gd name="T38" fmla="*/ 983 w 1051"/>
                <a:gd name="T39" fmla="*/ 52 h 380"/>
                <a:gd name="T40" fmla="*/ 973 w 1051"/>
                <a:gd name="T41" fmla="*/ 56 h 380"/>
                <a:gd name="T42" fmla="*/ 962 w 1051"/>
                <a:gd name="T43" fmla="*/ 60 h 380"/>
                <a:gd name="T44" fmla="*/ 952 w 1051"/>
                <a:gd name="T45" fmla="*/ 63 h 380"/>
                <a:gd name="T46" fmla="*/ 940 w 1051"/>
                <a:gd name="T47" fmla="*/ 65 h 380"/>
                <a:gd name="T48" fmla="*/ 928 w 1051"/>
                <a:gd name="T49" fmla="*/ 66 h 380"/>
                <a:gd name="T50" fmla="*/ 915 w 1051"/>
                <a:gd name="T51" fmla="*/ 67 h 380"/>
                <a:gd name="T52" fmla="*/ 902 w 1051"/>
                <a:gd name="T53" fmla="*/ 68 h 380"/>
                <a:gd name="T54" fmla="*/ 797 w 1051"/>
                <a:gd name="T55" fmla="*/ 7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51" h="380">
                  <a:moveTo>
                    <a:pt x="0" y="300"/>
                  </a:moveTo>
                  <a:lnTo>
                    <a:pt x="553" y="142"/>
                  </a:lnTo>
                  <a:lnTo>
                    <a:pt x="544" y="177"/>
                  </a:lnTo>
                  <a:lnTo>
                    <a:pt x="538" y="208"/>
                  </a:lnTo>
                  <a:lnTo>
                    <a:pt x="530" y="237"/>
                  </a:lnTo>
                  <a:lnTo>
                    <a:pt x="524" y="265"/>
                  </a:lnTo>
                  <a:lnTo>
                    <a:pt x="119" y="380"/>
                  </a:lnTo>
                  <a:lnTo>
                    <a:pt x="91" y="360"/>
                  </a:lnTo>
                  <a:lnTo>
                    <a:pt x="62" y="339"/>
                  </a:lnTo>
                  <a:lnTo>
                    <a:pt x="32" y="320"/>
                  </a:lnTo>
                  <a:lnTo>
                    <a:pt x="0" y="300"/>
                  </a:lnTo>
                  <a:close/>
                  <a:moveTo>
                    <a:pt x="797" y="72"/>
                  </a:moveTo>
                  <a:lnTo>
                    <a:pt x="1051" y="0"/>
                  </a:lnTo>
                  <a:lnTo>
                    <a:pt x="1039" y="14"/>
                  </a:lnTo>
                  <a:lnTo>
                    <a:pt x="1025" y="26"/>
                  </a:lnTo>
                  <a:lnTo>
                    <a:pt x="1018" y="33"/>
                  </a:lnTo>
                  <a:lnTo>
                    <a:pt x="1010" y="38"/>
                  </a:lnTo>
                  <a:lnTo>
                    <a:pt x="1001" y="43"/>
                  </a:lnTo>
                  <a:lnTo>
                    <a:pt x="993" y="48"/>
                  </a:lnTo>
                  <a:lnTo>
                    <a:pt x="983" y="52"/>
                  </a:lnTo>
                  <a:lnTo>
                    <a:pt x="973" y="56"/>
                  </a:lnTo>
                  <a:lnTo>
                    <a:pt x="962" y="60"/>
                  </a:lnTo>
                  <a:lnTo>
                    <a:pt x="952" y="63"/>
                  </a:lnTo>
                  <a:lnTo>
                    <a:pt x="940" y="65"/>
                  </a:lnTo>
                  <a:lnTo>
                    <a:pt x="928" y="66"/>
                  </a:lnTo>
                  <a:lnTo>
                    <a:pt x="915" y="67"/>
                  </a:lnTo>
                  <a:lnTo>
                    <a:pt x="902" y="68"/>
                  </a:lnTo>
                  <a:lnTo>
                    <a:pt x="797" y="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571"/>
            <p:cNvSpPr>
              <a:spLocks/>
            </p:cNvSpPr>
            <p:nvPr/>
          </p:nvSpPr>
          <p:spPr bwMode="auto">
            <a:xfrm>
              <a:off x="958219" y="5180895"/>
              <a:ext cx="346635" cy="160210"/>
            </a:xfrm>
            <a:custGeom>
              <a:avLst/>
              <a:gdLst>
                <a:gd name="T0" fmla="*/ 0 w 477"/>
                <a:gd name="T1" fmla="*/ 135 h 219"/>
                <a:gd name="T2" fmla="*/ 477 w 477"/>
                <a:gd name="T3" fmla="*/ 0 h 219"/>
                <a:gd name="T4" fmla="*/ 468 w 477"/>
                <a:gd name="T5" fmla="*/ 34 h 219"/>
                <a:gd name="T6" fmla="*/ 461 w 477"/>
                <a:gd name="T7" fmla="*/ 66 h 219"/>
                <a:gd name="T8" fmla="*/ 454 w 477"/>
                <a:gd name="T9" fmla="*/ 95 h 219"/>
                <a:gd name="T10" fmla="*/ 448 w 477"/>
                <a:gd name="T11" fmla="*/ 122 h 219"/>
                <a:gd name="T12" fmla="*/ 108 w 477"/>
                <a:gd name="T13" fmla="*/ 219 h 219"/>
                <a:gd name="T14" fmla="*/ 82 w 477"/>
                <a:gd name="T15" fmla="*/ 198 h 219"/>
                <a:gd name="T16" fmla="*/ 56 w 477"/>
                <a:gd name="T17" fmla="*/ 176 h 219"/>
                <a:gd name="T18" fmla="*/ 29 w 477"/>
                <a:gd name="T19" fmla="*/ 156 h 219"/>
                <a:gd name="T20" fmla="*/ 0 w 477"/>
                <a:gd name="T21" fmla="*/ 13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7" h="219">
                  <a:moveTo>
                    <a:pt x="0" y="135"/>
                  </a:moveTo>
                  <a:lnTo>
                    <a:pt x="477" y="0"/>
                  </a:lnTo>
                  <a:lnTo>
                    <a:pt x="468" y="34"/>
                  </a:lnTo>
                  <a:lnTo>
                    <a:pt x="461" y="66"/>
                  </a:lnTo>
                  <a:lnTo>
                    <a:pt x="454" y="95"/>
                  </a:lnTo>
                  <a:lnTo>
                    <a:pt x="448" y="122"/>
                  </a:lnTo>
                  <a:lnTo>
                    <a:pt x="108" y="219"/>
                  </a:lnTo>
                  <a:lnTo>
                    <a:pt x="82" y="198"/>
                  </a:lnTo>
                  <a:lnTo>
                    <a:pt x="56" y="176"/>
                  </a:lnTo>
                  <a:lnTo>
                    <a:pt x="29" y="156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572"/>
            <p:cNvSpPr>
              <a:spLocks/>
            </p:cNvSpPr>
            <p:nvPr/>
          </p:nvSpPr>
          <p:spPr bwMode="auto">
            <a:xfrm>
              <a:off x="1001912" y="5227501"/>
              <a:ext cx="294203" cy="145645"/>
            </a:xfrm>
            <a:custGeom>
              <a:avLst/>
              <a:gdLst>
                <a:gd name="T0" fmla="*/ 0 w 405"/>
                <a:gd name="T1" fmla="*/ 115 h 202"/>
                <a:gd name="T2" fmla="*/ 405 w 405"/>
                <a:gd name="T3" fmla="*/ 0 h 202"/>
                <a:gd name="T4" fmla="*/ 397 w 405"/>
                <a:gd name="T5" fmla="*/ 35 h 202"/>
                <a:gd name="T6" fmla="*/ 389 w 405"/>
                <a:gd name="T7" fmla="*/ 68 h 202"/>
                <a:gd name="T8" fmla="*/ 382 w 405"/>
                <a:gd name="T9" fmla="*/ 97 h 202"/>
                <a:gd name="T10" fmla="*/ 377 w 405"/>
                <a:gd name="T11" fmla="*/ 123 h 202"/>
                <a:gd name="T12" fmla="*/ 97 w 405"/>
                <a:gd name="T13" fmla="*/ 202 h 202"/>
                <a:gd name="T14" fmla="*/ 73 w 405"/>
                <a:gd name="T15" fmla="*/ 180 h 202"/>
                <a:gd name="T16" fmla="*/ 50 w 405"/>
                <a:gd name="T17" fmla="*/ 157 h 202"/>
                <a:gd name="T18" fmla="*/ 25 w 405"/>
                <a:gd name="T19" fmla="*/ 137 h 202"/>
                <a:gd name="T20" fmla="*/ 0 w 405"/>
                <a:gd name="T21" fmla="*/ 11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5" h="202">
                  <a:moveTo>
                    <a:pt x="0" y="115"/>
                  </a:moveTo>
                  <a:lnTo>
                    <a:pt x="405" y="0"/>
                  </a:lnTo>
                  <a:lnTo>
                    <a:pt x="397" y="35"/>
                  </a:lnTo>
                  <a:lnTo>
                    <a:pt x="389" y="68"/>
                  </a:lnTo>
                  <a:lnTo>
                    <a:pt x="382" y="97"/>
                  </a:lnTo>
                  <a:lnTo>
                    <a:pt x="377" y="123"/>
                  </a:lnTo>
                  <a:lnTo>
                    <a:pt x="97" y="202"/>
                  </a:lnTo>
                  <a:lnTo>
                    <a:pt x="73" y="180"/>
                  </a:lnTo>
                  <a:lnTo>
                    <a:pt x="50" y="157"/>
                  </a:lnTo>
                  <a:lnTo>
                    <a:pt x="25" y="137"/>
                  </a:lnTo>
                  <a:lnTo>
                    <a:pt x="0" y="1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573"/>
            <p:cNvSpPr>
              <a:spLocks/>
            </p:cNvSpPr>
            <p:nvPr/>
          </p:nvSpPr>
          <p:spPr bwMode="auto">
            <a:xfrm>
              <a:off x="1036867" y="5271193"/>
              <a:ext cx="247597" cy="136907"/>
            </a:xfrm>
            <a:custGeom>
              <a:avLst/>
              <a:gdLst>
                <a:gd name="T0" fmla="*/ 0 w 340"/>
                <a:gd name="T1" fmla="*/ 97 h 186"/>
                <a:gd name="T2" fmla="*/ 340 w 340"/>
                <a:gd name="T3" fmla="*/ 0 h 186"/>
                <a:gd name="T4" fmla="*/ 331 w 340"/>
                <a:gd name="T5" fmla="*/ 38 h 186"/>
                <a:gd name="T6" fmla="*/ 324 w 340"/>
                <a:gd name="T7" fmla="*/ 70 h 186"/>
                <a:gd name="T8" fmla="*/ 317 w 340"/>
                <a:gd name="T9" fmla="*/ 98 h 186"/>
                <a:gd name="T10" fmla="*/ 312 w 340"/>
                <a:gd name="T11" fmla="*/ 122 h 186"/>
                <a:gd name="T12" fmla="*/ 89 w 340"/>
                <a:gd name="T13" fmla="*/ 186 h 186"/>
                <a:gd name="T14" fmla="*/ 68 w 340"/>
                <a:gd name="T15" fmla="*/ 163 h 186"/>
                <a:gd name="T16" fmla="*/ 45 w 340"/>
                <a:gd name="T17" fmla="*/ 140 h 186"/>
                <a:gd name="T18" fmla="*/ 22 w 340"/>
                <a:gd name="T19" fmla="*/ 119 h 186"/>
                <a:gd name="T20" fmla="*/ 0 w 340"/>
                <a:gd name="T21" fmla="*/ 97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186">
                  <a:moveTo>
                    <a:pt x="0" y="97"/>
                  </a:moveTo>
                  <a:lnTo>
                    <a:pt x="340" y="0"/>
                  </a:lnTo>
                  <a:lnTo>
                    <a:pt x="331" y="38"/>
                  </a:lnTo>
                  <a:lnTo>
                    <a:pt x="324" y="70"/>
                  </a:lnTo>
                  <a:lnTo>
                    <a:pt x="317" y="98"/>
                  </a:lnTo>
                  <a:lnTo>
                    <a:pt x="312" y="122"/>
                  </a:lnTo>
                  <a:lnTo>
                    <a:pt x="89" y="186"/>
                  </a:lnTo>
                  <a:lnTo>
                    <a:pt x="68" y="163"/>
                  </a:lnTo>
                  <a:lnTo>
                    <a:pt x="45" y="140"/>
                  </a:lnTo>
                  <a:lnTo>
                    <a:pt x="22" y="119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574"/>
            <p:cNvSpPr>
              <a:spLocks/>
            </p:cNvSpPr>
            <p:nvPr/>
          </p:nvSpPr>
          <p:spPr bwMode="auto">
            <a:xfrm>
              <a:off x="1071821" y="5314888"/>
              <a:ext cx="203902" cy="125255"/>
            </a:xfrm>
            <a:custGeom>
              <a:avLst/>
              <a:gdLst>
                <a:gd name="T0" fmla="*/ 0 w 280"/>
                <a:gd name="T1" fmla="*/ 79 h 169"/>
                <a:gd name="T2" fmla="*/ 280 w 280"/>
                <a:gd name="T3" fmla="*/ 0 h 169"/>
                <a:gd name="T4" fmla="*/ 270 w 280"/>
                <a:gd name="T5" fmla="*/ 38 h 169"/>
                <a:gd name="T6" fmla="*/ 264 w 280"/>
                <a:gd name="T7" fmla="*/ 71 h 169"/>
                <a:gd name="T8" fmla="*/ 259 w 280"/>
                <a:gd name="T9" fmla="*/ 96 h 169"/>
                <a:gd name="T10" fmla="*/ 257 w 280"/>
                <a:gd name="T11" fmla="*/ 120 h 169"/>
                <a:gd name="T12" fmla="*/ 84 w 280"/>
                <a:gd name="T13" fmla="*/ 169 h 169"/>
                <a:gd name="T14" fmla="*/ 62 w 280"/>
                <a:gd name="T15" fmla="*/ 146 h 169"/>
                <a:gd name="T16" fmla="*/ 42 w 280"/>
                <a:gd name="T17" fmla="*/ 123 h 169"/>
                <a:gd name="T18" fmla="*/ 22 w 280"/>
                <a:gd name="T19" fmla="*/ 101 h 169"/>
                <a:gd name="T20" fmla="*/ 0 w 280"/>
                <a:gd name="T21" fmla="*/ 7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69">
                  <a:moveTo>
                    <a:pt x="0" y="79"/>
                  </a:moveTo>
                  <a:lnTo>
                    <a:pt x="280" y="0"/>
                  </a:lnTo>
                  <a:lnTo>
                    <a:pt x="270" y="38"/>
                  </a:lnTo>
                  <a:lnTo>
                    <a:pt x="264" y="71"/>
                  </a:lnTo>
                  <a:lnTo>
                    <a:pt x="259" y="96"/>
                  </a:lnTo>
                  <a:lnTo>
                    <a:pt x="257" y="120"/>
                  </a:lnTo>
                  <a:lnTo>
                    <a:pt x="84" y="169"/>
                  </a:lnTo>
                  <a:lnTo>
                    <a:pt x="62" y="146"/>
                  </a:lnTo>
                  <a:lnTo>
                    <a:pt x="42" y="123"/>
                  </a:lnTo>
                  <a:lnTo>
                    <a:pt x="22" y="101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575"/>
            <p:cNvSpPr>
              <a:spLocks/>
            </p:cNvSpPr>
            <p:nvPr/>
          </p:nvSpPr>
          <p:spPr bwMode="auto">
            <a:xfrm>
              <a:off x="1103864" y="5358580"/>
              <a:ext cx="160210" cy="113604"/>
            </a:xfrm>
            <a:custGeom>
              <a:avLst/>
              <a:gdLst>
                <a:gd name="T0" fmla="*/ 0 w 223"/>
                <a:gd name="T1" fmla="*/ 64 h 156"/>
                <a:gd name="T2" fmla="*/ 223 w 223"/>
                <a:gd name="T3" fmla="*/ 0 h 156"/>
                <a:gd name="T4" fmla="*/ 219 w 223"/>
                <a:gd name="T5" fmla="*/ 18 h 156"/>
                <a:gd name="T6" fmla="*/ 217 w 223"/>
                <a:gd name="T7" fmla="*/ 34 h 156"/>
                <a:gd name="T8" fmla="*/ 215 w 223"/>
                <a:gd name="T9" fmla="*/ 49 h 156"/>
                <a:gd name="T10" fmla="*/ 214 w 223"/>
                <a:gd name="T11" fmla="*/ 62 h 156"/>
                <a:gd name="T12" fmla="*/ 214 w 223"/>
                <a:gd name="T13" fmla="*/ 76 h 156"/>
                <a:gd name="T14" fmla="*/ 215 w 223"/>
                <a:gd name="T15" fmla="*/ 89 h 156"/>
                <a:gd name="T16" fmla="*/ 216 w 223"/>
                <a:gd name="T17" fmla="*/ 102 h 156"/>
                <a:gd name="T18" fmla="*/ 218 w 223"/>
                <a:gd name="T19" fmla="*/ 116 h 156"/>
                <a:gd name="T20" fmla="*/ 80 w 223"/>
                <a:gd name="T21" fmla="*/ 156 h 156"/>
                <a:gd name="T22" fmla="*/ 59 w 223"/>
                <a:gd name="T23" fmla="*/ 132 h 156"/>
                <a:gd name="T24" fmla="*/ 40 w 223"/>
                <a:gd name="T25" fmla="*/ 108 h 156"/>
                <a:gd name="T26" fmla="*/ 19 w 223"/>
                <a:gd name="T27" fmla="*/ 86 h 156"/>
                <a:gd name="T28" fmla="*/ 0 w 223"/>
                <a:gd name="T29" fmla="*/ 6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3" h="156">
                  <a:moveTo>
                    <a:pt x="0" y="64"/>
                  </a:moveTo>
                  <a:lnTo>
                    <a:pt x="223" y="0"/>
                  </a:lnTo>
                  <a:lnTo>
                    <a:pt x="219" y="18"/>
                  </a:lnTo>
                  <a:lnTo>
                    <a:pt x="217" y="34"/>
                  </a:lnTo>
                  <a:lnTo>
                    <a:pt x="215" y="49"/>
                  </a:lnTo>
                  <a:lnTo>
                    <a:pt x="214" y="62"/>
                  </a:lnTo>
                  <a:lnTo>
                    <a:pt x="214" y="76"/>
                  </a:lnTo>
                  <a:lnTo>
                    <a:pt x="215" y="89"/>
                  </a:lnTo>
                  <a:lnTo>
                    <a:pt x="216" y="102"/>
                  </a:lnTo>
                  <a:lnTo>
                    <a:pt x="218" y="116"/>
                  </a:lnTo>
                  <a:lnTo>
                    <a:pt x="80" y="156"/>
                  </a:lnTo>
                  <a:lnTo>
                    <a:pt x="59" y="132"/>
                  </a:lnTo>
                  <a:lnTo>
                    <a:pt x="40" y="108"/>
                  </a:lnTo>
                  <a:lnTo>
                    <a:pt x="19" y="86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80" name="Group 379"/>
            <p:cNvGrpSpPr/>
            <p:nvPr/>
          </p:nvGrpSpPr>
          <p:grpSpPr>
            <a:xfrm>
              <a:off x="731014" y="3925437"/>
              <a:ext cx="894259" cy="707834"/>
              <a:chOff x="6522212" y="4160232"/>
              <a:chExt cx="894259" cy="707834"/>
            </a:xfrm>
            <a:solidFill>
              <a:schemeClr val="tx2"/>
            </a:solidFill>
          </p:grpSpPr>
          <p:sp>
            <p:nvSpPr>
              <p:cNvPr id="386" name="Freeform 538"/>
              <p:cNvSpPr>
                <a:spLocks/>
              </p:cNvSpPr>
              <p:nvPr/>
            </p:nvSpPr>
            <p:spPr bwMode="auto">
              <a:xfrm>
                <a:off x="6577556" y="4160232"/>
                <a:ext cx="404893" cy="116516"/>
              </a:xfrm>
              <a:custGeom>
                <a:avLst/>
                <a:gdLst>
                  <a:gd name="T0" fmla="*/ 558 w 558"/>
                  <a:gd name="T1" fmla="*/ 0 h 160"/>
                  <a:gd name="T2" fmla="*/ 0 w 558"/>
                  <a:gd name="T3" fmla="*/ 160 h 160"/>
                  <a:gd name="T4" fmla="*/ 18 w 558"/>
                  <a:gd name="T5" fmla="*/ 148 h 160"/>
                  <a:gd name="T6" fmla="*/ 37 w 558"/>
                  <a:gd name="T7" fmla="*/ 136 h 160"/>
                  <a:gd name="T8" fmla="*/ 58 w 558"/>
                  <a:gd name="T9" fmla="*/ 124 h 160"/>
                  <a:gd name="T10" fmla="*/ 81 w 558"/>
                  <a:gd name="T11" fmla="*/ 112 h 160"/>
                  <a:gd name="T12" fmla="*/ 106 w 558"/>
                  <a:gd name="T13" fmla="*/ 100 h 160"/>
                  <a:gd name="T14" fmla="*/ 132 w 558"/>
                  <a:gd name="T15" fmla="*/ 86 h 160"/>
                  <a:gd name="T16" fmla="*/ 161 w 558"/>
                  <a:gd name="T17" fmla="*/ 73 h 160"/>
                  <a:gd name="T18" fmla="*/ 192 w 558"/>
                  <a:gd name="T19" fmla="*/ 57 h 160"/>
                  <a:gd name="T20" fmla="*/ 205 w 558"/>
                  <a:gd name="T21" fmla="*/ 52 h 160"/>
                  <a:gd name="T22" fmla="*/ 219 w 558"/>
                  <a:gd name="T23" fmla="*/ 47 h 160"/>
                  <a:gd name="T24" fmla="*/ 236 w 558"/>
                  <a:gd name="T25" fmla="*/ 41 h 160"/>
                  <a:gd name="T26" fmla="*/ 253 w 558"/>
                  <a:gd name="T27" fmla="*/ 36 h 160"/>
                  <a:gd name="T28" fmla="*/ 273 w 558"/>
                  <a:gd name="T29" fmla="*/ 32 h 160"/>
                  <a:gd name="T30" fmla="*/ 294 w 558"/>
                  <a:gd name="T31" fmla="*/ 26 h 160"/>
                  <a:gd name="T32" fmla="*/ 316 w 558"/>
                  <a:gd name="T33" fmla="*/ 23 h 160"/>
                  <a:gd name="T34" fmla="*/ 339 w 558"/>
                  <a:gd name="T35" fmla="*/ 19 h 160"/>
                  <a:gd name="T36" fmla="*/ 389 w 558"/>
                  <a:gd name="T37" fmla="*/ 12 h 160"/>
                  <a:gd name="T38" fmla="*/ 443 w 558"/>
                  <a:gd name="T39" fmla="*/ 7 h 160"/>
                  <a:gd name="T40" fmla="*/ 499 w 558"/>
                  <a:gd name="T41" fmla="*/ 3 h 160"/>
                  <a:gd name="T42" fmla="*/ 558 w 558"/>
                  <a:gd name="T4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8" h="160">
                    <a:moveTo>
                      <a:pt x="558" y="0"/>
                    </a:moveTo>
                    <a:lnTo>
                      <a:pt x="0" y="160"/>
                    </a:lnTo>
                    <a:lnTo>
                      <a:pt x="18" y="148"/>
                    </a:lnTo>
                    <a:lnTo>
                      <a:pt x="37" y="136"/>
                    </a:lnTo>
                    <a:lnTo>
                      <a:pt x="58" y="124"/>
                    </a:lnTo>
                    <a:lnTo>
                      <a:pt x="81" y="112"/>
                    </a:lnTo>
                    <a:lnTo>
                      <a:pt x="106" y="100"/>
                    </a:lnTo>
                    <a:lnTo>
                      <a:pt x="132" y="86"/>
                    </a:lnTo>
                    <a:lnTo>
                      <a:pt x="161" y="73"/>
                    </a:lnTo>
                    <a:lnTo>
                      <a:pt x="192" y="57"/>
                    </a:lnTo>
                    <a:lnTo>
                      <a:pt x="205" y="52"/>
                    </a:lnTo>
                    <a:lnTo>
                      <a:pt x="219" y="47"/>
                    </a:lnTo>
                    <a:lnTo>
                      <a:pt x="236" y="41"/>
                    </a:lnTo>
                    <a:lnTo>
                      <a:pt x="253" y="36"/>
                    </a:lnTo>
                    <a:lnTo>
                      <a:pt x="273" y="32"/>
                    </a:lnTo>
                    <a:lnTo>
                      <a:pt x="294" y="26"/>
                    </a:lnTo>
                    <a:lnTo>
                      <a:pt x="316" y="23"/>
                    </a:lnTo>
                    <a:lnTo>
                      <a:pt x="339" y="19"/>
                    </a:lnTo>
                    <a:lnTo>
                      <a:pt x="389" y="12"/>
                    </a:lnTo>
                    <a:lnTo>
                      <a:pt x="443" y="7"/>
                    </a:lnTo>
                    <a:lnTo>
                      <a:pt x="499" y="3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539"/>
              <p:cNvSpPr>
                <a:spLocks/>
              </p:cNvSpPr>
              <p:nvPr/>
            </p:nvSpPr>
            <p:spPr bwMode="auto">
              <a:xfrm>
                <a:off x="6522212" y="4160232"/>
                <a:ext cx="600056" cy="171862"/>
              </a:xfrm>
              <a:custGeom>
                <a:avLst/>
                <a:gdLst>
                  <a:gd name="T0" fmla="*/ 824 w 824"/>
                  <a:gd name="T1" fmla="*/ 4 h 239"/>
                  <a:gd name="T2" fmla="*/ 0 w 824"/>
                  <a:gd name="T3" fmla="*/ 239 h 239"/>
                  <a:gd name="T4" fmla="*/ 10 w 824"/>
                  <a:gd name="T5" fmla="*/ 224 h 239"/>
                  <a:gd name="T6" fmla="*/ 20 w 824"/>
                  <a:gd name="T7" fmla="*/ 211 h 239"/>
                  <a:gd name="T8" fmla="*/ 30 w 824"/>
                  <a:gd name="T9" fmla="*/ 198 h 239"/>
                  <a:gd name="T10" fmla="*/ 42 w 824"/>
                  <a:gd name="T11" fmla="*/ 186 h 239"/>
                  <a:gd name="T12" fmla="*/ 55 w 824"/>
                  <a:gd name="T13" fmla="*/ 176 h 239"/>
                  <a:gd name="T14" fmla="*/ 68 w 824"/>
                  <a:gd name="T15" fmla="*/ 165 h 239"/>
                  <a:gd name="T16" fmla="*/ 83 w 824"/>
                  <a:gd name="T17" fmla="*/ 155 h 239"/>
                  <a:gd name="T18" fmla="*/ 98 w 824"/>
                  <a:gd name="T19" fmla="*/ 146 h 239"/>
                  <a:gd name="T20" fmla="*/ 133 w 824"/>
                  <a:gd name="T21" fmla="*/ 125 h 239"/>
                  <a:gd name="T22" fmla="*/ 171 w 824"/>
                  <a:gd name="T23" fmla="*/ 106 h 239"/>
                  <a:gd name="T24" fmla="*/ 217 w 824"/>
                  <a:gd name="T25" fmla="*/ 83 h 239"/>
                  <a:gd name="T26" fmla="*/ 267 w 824"/>
                  <a:gd name="T27" fmla="*/ 58 h 239"/>
                  <a:gd name="T28" fmla="*/ 285 w 824"/>
                  <a:gd name="T29" fmla="*/ 51 h 239"/>
                  <a:gd name="T30" fmla="*/ 307 w 824"/>
                  <a:gd name="T31" fmla="*/ 43 h 239"/>
                  <a:gd name="T32" fmla="*/ 333 w 824"/>
                  <a:gd name="T33" fmla="*/ 36 h 239"/>
                  <a:gd name="T34" fmla="*/ 361 w 824"/>
                  <a:gd name="T35" fmla="*/ 29 h 239"/>
                  <a:gd name="T36" fmla="*/ 391 w 824"/>
                  <a:gd name="T37" fmla="*/ 24 h 239"/>
                  <a:gd name="T38" fmla="*/ 423 w 824"/>
                  <a:gd name="T39" fmla="*/ 19 h 239"/>
                  <a:gd name="T40" fmla="*/ 459 w 824"/>
                  <a:gd name="T41" fmla="*/ 13 h 239"/>
                  <a:gd name="T42" fmla="*/ 495 w 824"/>
                  <a:gd name="T43" fmla="*/ 10 h 239"/>
                  <a:gd name="T44" fmla="*/ 534 w 824"/>
                  <a:gd name="T45" fmla="*/ 7 h 239"/>
                  <a:gd name="T46" fmla="*/ 573 w 824"/>
                  <a:gd name="T47" fmla="*/ 4 h 239"/>
                  <a:gd name="T48" fmla="*/ 613 w 824"/>
                  <a:gd name="T49" fmla="*/ 1 h 239"/>
                  <a:gd name="T50" fmla="*/ 655 w 824"/>
                  <a:gd name="T51" fmla="*/ 0 h 239"/>
                  <a:gd name="T52" fmla="*/ 697 w 824"/>
                  <a:gd name="T53" fmla="*/ 0 h 239"/>
                  <a:gd name="T54" fmla="*/ 740 w 824"/>
                  <a:gd name="T55" fmla="*/ 0 h 239"/>
                  <a:gd name="T56" fmla="*/ 782 w 824"/>
                  <a:gd name="T57" fmla="*/ 1 h 239"/>
                  <a:gd name="T58" fmla="*/ 824 w 824"/>
                  <a:gd name="T59" fmla="*/ 4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24" h="239">
                    <a:moveTo>
                      <a:pt x="824" y="4"/>
                    </a:moveTo>
                    <a:lnTo>
                      <a:pt x="0" y="239"/>
                    </a:lnTo>
                    <a:lnTo>
                      <a:pt x="10" y="224"/>
                    </a:lnTo>
                    <a:lnTo>
                      <a:pt x="20" y="211"/>
                    </a:lnTo>
                    <a:lnTo>
                      <a:pt x="30" y="198"/>
                    </a:lnTo>
                    <a:lnTo>
                      <a:pt x="42" y="186"/>
                    </a:lnTo>
                    <a:lnTo>
                      <a:pt x="55" y="176"/>
                    </a:lnTo>
                    <a:lnTo>
                      <a:pt x="68" y="165"/>
                    </a:lnTo>
                    <a:lnTo>
                      <a:pt x="83" y="155"/>
                    </a:lnTo>
                    <a:lnTo>
                      <a:pt x="98" y="146"/>
                    </a:lnTo>
                    <a:lnTo>
                      <a:pt x="133" y="125"/>
                    </a:lnTo>
                    <a:lnTo>
                      <a:pt x="171" y="106"/>
                    </a:lnTo>
                    <a:lnTo>
                      <a:pt x="217" y="83"/>
                    </a:lnTo>
                    <a:lnTo>
                      <a:pt x="267" y="58"/>
                    </a:lnTo>
                    <a:lnTo>
                      <a:pt x="285" y="51"/>
                    </a:lnTo>
                    <a:lnTo>
                      <a:pt x="307" y="43"/>
                    </a:lnTo>
                    <a:lnTo>
                      <a:pt x="333" y="36"/>
                    </a:lnTo>
                    <a:lnTo>
                      <a:pt x="361" y="29"/>
                    </a:lnTo>
                    <a:lnTo>
                      <a:pt x="391" y="24"/>
                    </a:lnTo>
                    <a:lnTo>
                      <a:pt x="423" y="19"/>
                    </a:lnTo>
                    <a:lnTo>
                      <a:pt x="459" y="13"/>
                    </a:lnTo>
                    <a:lnTo>
                      <a:pt x="495" y="10"/>
                    </a:lnTo>
                    <a:lnTo>
                      <a:pt x="534" y="7"/>
                    </a:lnTo>
                    <a:lnTo>
                      <a:pt x="573" y="4"/>
                    </a:lnTo>
                    <a:lnTo>
                      <a:pt x="613" y="1"/>
                    </a:lnTo>
                    <a:lnTo>
                      <a:pt x="655" y="0"/>
                    </a:lnTo>
                    <a:lnTo>
                      <a:pt x="697" y="0"/>
                    </a:lnTo>
                    <a:lnTo>
                      <a:pt x="740" y="0"/>
                    </a:lnTo>
                    <a:lnTo>
                      <a:pt x="782" y="1"/>
                    </a:lnTo>
                    <a:lnTo>
                      <a:pt x="82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583"/>
              <p:cNvSpPr>
                <a:spLocks/>
              </p:cNvSpPr>
              <p:nvPr/>
            </p:nvSpPr>
            <p:spPr bwMode="auto">
              <a:xfrm>
                <a:off x="6551341" y="4262184"/>
                <a:ext cx="865130" cy="605882"/>
              </a:xfrm>
              <a:custGeom>
                <a:avLst/>
                <a:gdLst>
                  <a:gd name="T0" fmla="*/ 826 w 1185"/>
                  <a:gd name="T1" fmla="*/ 586 h 835"/>
                  <a:gd name="T2" fmla="*/ 795 w 1185"/>
                  <a:gd name="T3" fmla="*/ 646 h 835"/>
                  <a:gd name="T4" fmla="*/ 751 w 1185"/>
                  <a:gd name="T5" fmla="*/ 695 h 835"/>
                  <a:gd name="T6" fmla="*/ 695 w 1185"/>
                  <a:gd name="T7" fmla="*/ 732 h 835"/>
                  <a:gd name="T8" fmla="*/ 630 w 1185"/>
                  <a:gd name="T9" fmla="*/ 752 h 835"/>
                  <a:gd name="T10" fmla="*/ 369 w 1185"/>
                  <a:gd name="T11" fmla="*/ 756 h 835"/>
                  <a:gd name="T12" fmla="*/ 306 w 1185"/>
                  <a:gd name="T13" fmla="*/ 780 h 835"/>
                  <a:gd name="T14" fmla="*/ 199 w 1185"/>
                  <a:gd name="T15" fmla="*/ 829 h 835"/>
                  <a:gd name="T16" fmla="*/ 182 w 1185"/>
                  <a:gd name="T17" fmla="*/ 835 h 835"/>
                  <a:gd name="T18" fmla="*/ 169 w 1185"/>
                  <a:gd name="T19" fmla="*/ 827 h 835"/>
                  <a:gd name="T20" fmla="*/ 150 w 1185"/>
                  <a:gd name="T21" fmla="*/ 789 h 835"/>
                  <a:gd name="T22" fmla="*/ 113 w 1185"/>
                  <a:gd name="T23" fmla="*/ 704 h 835"/>
                  <a:gd name="T24" fmla="*/ 93 w 1185"/>
                  <a:gd name="T25" fmla="*/ 682 h 835"/>
                  <a:gd name="T26" fmla="*/ 73 w 1185"/>
                  <a:gd name="T27" fmla="*/ 657 h 835"/>
                  <a:gd name="T28" fmla="*/ 54 w 1185"/>
                  <a:gd name="T29" fmla="*/ 623 h 835"/>
                  <a:gd name="T30" fmla="*/ 23 w 1185"/>
                  <a:gd name="T31" fmla="*/ 581 h 835"/>
                  <a:gd name="T32" fmla="*/ 8 w 1185"/>
                  <a:gd name="T33" fmla="*/ 527 h 835"/>
                  <a:gd name="T34" fmla="*/ 0 w 1185"/>
                  <a:gd name="T35" fmla="*/ 452 h 835"/>
                  <a:gd name="T36" fmla="*/ 2 w 1185"/>
                  <a:gd name="T37" fmla="*/ 400 h 835"/>
                  <a:gd name="T38" fmla="*/ 11 w 1185"/>
                  <a:gd name="T39" fmla="*/ 364 h 835"/>
                  <a:gd name="T40" fmla="*/ 26 w 1185"/>
                  <a:gd name="T41" fmla="*/ 330 h 835"/>
                  <a:gd name="T42" fmla="*/ 63 w 1185"/>
                  <a:gd name="T43" fmla="*/ 255 h 835"/>
                  <a:gd name="T44" fmla="*/ 103 w 1185"/>
                  <a:gd name="T45" fmla="*/ 168 h 835"/>
                  <a:gd name="T46" fmla="*/ 127 w 1185"/>
                  <a:gd name="T47" fmla="*/ 129 h 835"/>
                  <a:gd name="T48" fmla="*/ 151 w 1185"/>
                  <a:gd name="T49" fmla="*/ 104 h 835"/>
                  <a:gd name="T50" fmla="*/ 175 w 1185"/>
                  <a:gd name="T51" fmla="*/ 87 h 835"/>
                  <a:gd name="T52" fmla="*/ 202 w 1185"/>
                  <a:gd name="T53" fmla="*/ 78 h 835"/>
                  <a:gd name="T54" fmla="*/ 255 w 1185"/>
                  <a:gd name="T55" fmla="*/ 72 h 835"/>
                  <a:gd name="T56" fmla="*/ 327 w 1185"/>
                  <a:gd name="T57" fmla="*/ 80 h 835"/>
                  <a:gd name="T58" fmla="*/ 348 w 1185"/>
                  <a:gd name="T59" fmla="*/ 77 h 835"/>
                  <a:gd name="T60" fmla="*/ 353 w 1185"/>
                  <a:gd name="T61" fmla="*/ 68 h 835"/>
                  <a:gd name="T62" fmla="*/ 369 w 1185"/>
                  <a:gd name="T63" fmla="*/ 43 h 835"/>
                  <a:gd name="T64" fmla="*/ 402 w 1185"/>
                  <a:gd name="T65" fmla="*/ 25 h 835"/>
                  <a:gd name="T66" fmla="*/ 451 w 1185"/>
                  <a:gd name="T67" fmla="*/ 12 h 835"/>
                  <a:gd name="T68" fmla="*/ 510 w 1185"/>
                  <a:gd name="T69" fmla="*/ 5 h 835"/>
                  <a:gd name="T70" fmla="*/ 644 w 1185"/>
                  <a:gd name="T71" fmla="*/ 0 h 835"/>
                  <a:gd name="T72" fmla="*/ 779 w 1185"/>
                  <a:gd name="T73" fmla="*/ 5 h 835"/>
                  <a:gd name="T74" fmla="*/ 921 w 1185"/>
                  <a:gd name="T75" fmla="*/ 10 h 835"/>
                  <a:gd name="T76" fmla="*/ 968 w 1185"/>
                  <a:gd name="T77" fmla="*/ 13 h 835"/>
                  <a:gd name="T78" fmla="*/ 1010 w 1185"/>
                  <a:gd name="T79" fmla="*/ 23 h 835"/>
                  <a:gd name="T80" fmla="*/ 1047 w 1185"/>
                  <a:gd name="T81" fmla="*/ 40 h 835"/>
                  <a:gd name="T82" fmla="*/ 1082 w 1185"/>
                  <a:gd name="T83" fmla="*/ 64 h 835"/>
                  <a:gd name="T84" fmla="*/ 1117 w 1185"/>
                  <a:gd name="T85" fmla="*/ 97 h 835"/>
                  <a:gd name="T86" fmla="*/ 1147 w 1185"/>
                  <a:gd name="T87" fmla="*/ 136 h 835"/>
                  <a:gd name="T88" fmla="*/ 1169 w 1185"/>
                  <a:gd name="T89" fmla="*/ 178 h 835"/>
                  <a:gd name="T90" fmla="*/ 1182 w 1185"/>
                  <a:gd name="T91" fmla="*/ 223 h 835"/>
                  <a:gd name="T92" fmla="*/ 1184 w 1185"/>
                  <a:gd name="T93" fmla="*/ 270 h 835"/>
                  <a:gd name="T94" fmla="*/ 1174 w 1185"/>
                  <a:gd name="T95" fmla="*/ 319 h 835"/>
                  <a:gd name="T96" fmla="*/ 1144 w 1185"/>
                  <a:gd name="T97" fmla="*/ 359 h 835"/>
                  <a:gd name="T98" fmla="*/ 1104 w 1185"/>
                  <a:gd name="T99" fmla="*/ 396 h 835"/>
                  <a:gd name="T100" fmla="*/ 1034 w 1185"/>
                  <a:gd name="T101" fmla="*/ 440 h 835"/>
                  <a:gd name="T102" fmla="*/ 946 w 1185"/>
                  <a:gd name="T103" fmla="*/ 485 h 835"/>
                  <a:gd name="T104" fmla="*/ 890 w 1185"/>
                  <a:gd name="T105" fmla="*/ 518 h 835"/>
                  <a:gd name="T106" fmla="*/ 861 w 1185"/>
                  <a:gd name="T107" fmla="*/ 527 h 835"/>
                  <a:gd name="T108" fmla="*/ 838 w 1185"/>
                  <a:gd name="T109" fmla="*/ 542 h 8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5" h="835">
                    <a:moveTo>
                      <a:pt x="838" y="542"/>
                    </a:moveTo>
                    <a:lnTo>
                      <a:pt x="833" y="565"/>
                    </a:lnTo>
                    <a:lnTo>
                      <a:pt x="826" y="586"/>
                    </a:lnTo>
                    <a:lnTo>
                      <a:pt x="818" y="607"/>
                    </a:lnTo>
                    <a:lnTo>
                      <a:pt x="808" y="627"/>
                    </a:lnTo>
                    <a:lnTo>
                      <a:pt x="795" y="646"/>
                    </a:lnTo>
                    <a:lnTo>
                      <a:pt x="782" y="664"/>
                    </a:lnTo>
                    <a:lnTo>
                      <a:pt x="767" y="680"/>
                    </a:lnTo>
                    <a:lnTo>
                      <a:pt x="751" y="695"/>
                    </a:lnTo>
                    <a:lnTo>
                      <a:pt x="734" y="708"/>
                    </a:lnTo>
                    <a:lnTo>
                      <a:pt x="714" y="721"/>
                    </a:lnTo>
                    <a:lnTo>
                      <a:pt x="695" y="732"/>
                    </a:lnTo>
                    <a:lnTo>
                      <a:pt x="675" y="740"/>
                    </a:lnTo>
                    <a:lnTo>
                      <a:pt x="653" y="747"/>
                    </a:lnTo>
                    <a:lnTo>
                      <a:pt x="630" y="752"/>
                    </a:lnTo>
                    <a:lnTo>
                      <a:pt x="608" y="755"/>
                    </a:lnTo>
                    <a:lnTo>
                      <a:pt x="584" y="756"/>
                    </a:lnTo>
                    <a:lnTo>
                      <a:pt x="369" y="756"/>
                    </a:lnTo>
                    <a:lnTo>
                      <a:pt x="360" y="756"/>
                    </a:lnTo>
                    <a:lnTo>
                      <a:pt x="353" y="755"/>
                    </a:lnTo>
                    <a:lnTo>
                      <a:pt x="306" y="780"/>
                    </a:lnTo>
                    <a:lnTo>
                      <a:pt x="263" y="802"/>
                    </a:lnTo>
                    <a:lnTo>
                      <a:pt x="226" y="819"/>
                    </a:lnTo>
                    <a:lnTo>
                      <a:pt x="199" y="829"/>
                    </a:lnTo>
                    <a:lnTo>
                      <a:pt x="193" y="834"/>
                    </a:lnTo>
                    <a:lnTo>
                      <a:pt x="187" y="835"/>
                    </a:lnTo>
                    <a:lnTo>
                      <a:pt x="182" y="835"/>
                    </a:lnTo>
                    <a:lnTo>
                      <a:pt x="177" y="834"/>
                    </a:lnTo>
                    <a:lnTo>
                      <a:pt x="172" y="832"/>
                    </a:lnTo>
                    <a:lnTo>
                      <a:pt x="169" y="827"/>
                    </a:lnTo>
                    <a:lnTo>
                      <a:pt x="165" y="823"/>
                    </a:lnTo>
                    <a:lnTo>
                      <a:pt x="161" y="817"/>
                    </a:lnTo>
                    <a:lnTo>
                      <a:pt x="150" y="789"/>
                    </a:lnTo>
                    <a:lnTo>
                      <a:pt x="139" y="758"/>
                    </a:lnTo>
                    <a:lnTo>
                      <a:pt x="124" y="724"/>
                    </a:lnTo>
                    <a:lnTo>
                      <a:pt x="113" y="704"/>
                    </a:lnTo>
                    <a:lnTo>
                      <a:pt x="106" y="693"/>
                    </a:lnTo>
                    <a:lnTo>
                      <a:pt x="99" y="686"/>
                    </a:lnTo>
                    <a:lnTo>
                      <a:pt x="93" y="682"/>
                    </a:lnTo>
                    <a:lnTo>
                      <a:pt x="85" y="674"/>
                    </a:lnTo>
                    <a:lnTo>
                      <a:pt x="80" y="666"/>
                    </a:lnTo>
                    <a:lnTo>
                      <a:pt x="73" y="657"/>
                    </a:lnTo>
                    <a:lnTo>
                      <a:pt x="67" y="646"/>
                    </a:lnTo>
                    <a:lnTo>
                      <a:pt x="58" y="629"/>
                    </a:lnTo>
                    <a:lnTo>
                      <a:pt x="54" y="623"/>
                    </a:lnTo>
                    <a:lnTo>
                      <a:pt x="42" y="606"/>
                    </a:lnTo>
                    <a:lnTo>
                      <a:pt x="28" y="591"/>
                    </a:lnTo>
                    <a:lnTo>
                      <a:pt x="23" y="581"/>
                    </a:lnTo>
                    <a:lnTo>
                      <a:pt x="16" y="568"/>
                    </a:lnTo>
                    <a:lnTo>
                      <a:pt x="12" y="551"/>
                    </a:lnTo>
                    <a:lnTo>
                      <a:pt x="8" y="527"/>
                    </a:lnTo>
                    <a:lnTo>
                      <a:pt x="4" y="504"/>
                    </a:lnTo>
                    <a:lnTo>
                      <a:pt x="2" y="478"/>
                    </a:lnTo>
                    <a:lnTo>
                      <a:pt x="0" y="452"/>
                    </a:lnTo>
                    <a:lnTo>
                      <a:pt x="0" y="426"/>
                    </a:lnTo>
                    <a:lnTo>
                      <a:pt x="1" y="413"/>
                    </a:lnTo>
                    <a:lnTo>
                      <a:pt x="2" y="400"/>
                    </a:lnTo>
                    <a:lnTo>
                      <a:pt x="4" y="387"/>
                    </a:lnTo>
                    <a:lnTo>
                      <a:pt x="7" y="376"/>
                    </a:lnTo>
                    <a:lnTo>
                      <a:pt x="11" y="364"/>
                    </a:lnTo>
                    <a:lnTo>
                      <a:pt x="15" y="352"/>
                    </a:lnTo>
                    <a:lnTo>
                      <a:pt x="21" y="341"/>
                    </a:lnTo>
                    <a:lnTo>
                      <a:pt x="26" y="330"/>
                    </a:lnTo>
                    <a:lnTo>
                      <a:pt x="39" y="309"/>
                    </a:lnTo>
                    <a:lnTo>
                      <a:pt x="51" y="283"/>
                    </a:lnTo>
                    <a:lnTo>
                      <a:pt x="63" y="255"/>
                    </a:lnTo>
                    <a:lnTo>
                      <a:pt x="75" y="226"/>
                    </a:lnTo>
                    <a:lnTo>
                      <a:pt x="88" y="196"/>
                    </a:lnTo>
                    <a:lnTo>
                      <a:pt x="103" y="168"/>
                    </a:lnTo>
                    <a:lnTo>
                      <a:pt x="111" y="154"/>
                    </a:lnTo>
                    <a:lnTo>
                      <a:pt x="118" y="141"/>
                    </a:lnTo>
                    <a:lnTo>
                      <a:pt x="127" y="129"/>
                    </a:lnTo>
                    <a:lnTo>
                      <a:pt x="136" y="119"/>
                    </a:lnTo>
                    <a:lnTo>
                      <a:pt x="143" y="110"/>
                    </a:lnTo>
                    <a:lnTo>
                      <a:pt x="151" y="104"/>
                    </a:lnTo>
                    <a:lnTo>
                      <a:pt x="159" y="97"/>
                    </a:lnTo>
                    <a:lnTo>
                      <a:pt x="167" y="92"/>
                    </a:lnTo>
                    <a:lnTo>
                      <a:pt x="175" y="87"/>
                    </a:lnTo>
                    <a:lnTo>
                      <a:pt x="184" y="83"/>
                    </a:lnTo>
                    <a:lnTo>
                      <a:pt x="193" y="80"/>
                    </a:lnTo>
                    <a:lnTo>
                      <a:pt x="202" y="78"/>
                    </a:lnTo>
                    <a:lnTo>
                      <a:pt x="220" y="74"/>
                    </a:lnTo>
                    <a:lnTo>
                      <a:pt x="237" y="72"/>
                    </a:lnTo>
                    <a:lnTo>
                      <a:pt x="255" y="72"/>
                    </a:lnTo>
                    <a:lnTo>
                      <a:pt x="271" y="73"/>
                    </a:lnTo>
                    <a:lnTo>
                      <a:pt x="302" y="78"/>
                    </a:lnTo>
                    <a:lnTo>
                      <a:pt x="327" y="80"/>
                    </a:lnTo>
                    <a:lnTo>
                      <a:pt x="337" y="80"/>
                    </a:lnTo>
                    <a:lnTo>
                      <a:pt x="345" y="78"/>
                    </a:lnTo>
                    <a:lnTo>
                      <a:pt x="348" y="77"/>
                    </a:lnTo>
                    <a:lnTo>
                      <a:pt x="351" y="74"/>
                    </a:lnTo>
                    <a:lnTo>
                      <a:pt x="352" y="71"/>
                    </a:lnTo>
                    <a:lnTo>
                      <a:pt x="353" y="68"/>
                    </a:lnTo>
                    <a:lnTo>
                      <a:pt x="356" y="59"/>
                    </a:lnTo>
                    <a:lnTo>
                      <a:pt x="362" y="51"/>
                    </a:lnTo>
                    <a:lnTo>
                      <a:pt x="369" y="43"/>
                    </a:lnTo>
                    <a:lnTo>
                      <a:pt x="378" y="36"/>
                    </a:lnTo>
                    <a:lnTo>
                      <a:pt x="389" y="30"/>
                    </a:lnTo>
                    <a:lnTo>
                      <a:pt x="402" y="25"/>
                    </a:lnTo>
                    <a:lnTo>
                      <a:pt x="417" y="20"/>
                    </a:lnTo>
                    <a:lnTo>
                      <a:pt x="434" y="16"/>
                    </a:lnTo>
                    <a:lnTo>
                      <a:pt x="451" y="12"/>
                    </a:lnTo>
                    <a:lnTo>
                      <a:pt x="469" y="9"/>
                    </a:lnTo>
                    <a:lnTo>
                      <a:pt x="490" y="7"/>
                    </a:lnTo>
                    <a:lnTo>
                      <a:pt x="510" y="5"/>
                    </a:lnTo>
                    <a:lnTo>
                      <a:pt x="553" y="2"/>
                    </a:lnTo>
                    <a:lnTo>
                      <a:pt x="598" y="0"/>
                    </a:lnTo>
                    <a:lnTo>
                      <a:pt x="644" y="0"/>
                    </a:lnTo>
                    <a:lnTo>
                      <a:pt x="691" y="1"/>
                    </a:lnTo>
                    <a:lnTo>
                      <a:pt x="736" y="2"/>
                    </a:lnTo>
                    <a:lnTo>
                      <a:pt x="779" y="5"/>
                    </a:lnTo>
                    <a:lnTo>
                      <a:pt x="852" y="8"/>
                    </a:lnTo>
                    <a:lnTo>
                      <a:pt x="904" y="10"/>
                    </a:lnTo>
                    <a:lnTo>
                      <a:pt x="921" y="10"/>
                    </a:lnTo>
                    <a:lnTo>
                      <a:pt x="937" y="10"/>
                    </a:lnTo>
                    <a:lnTo>
                      <a:pt x="953" y="12"/>
                    </a:lnTo>
                    <a:lnTo>
                      <a:pt x="968" y="13"/>
                    </a:lnTo>
                    <a:lnTo>
                      <a:pt x="982" y="16"/>
                    </a:lnTo>
                    <a:lnTo>
                      <a:pt x="996" y="20"/>
                    </a:lnTo>
                    <a:lnTo>
                      <a:pt x="1010" y="23"/>
                    </a:lnTo>
                    <a:lnTo>
                      <a:pt x="1023" y="28"/>
                    </a:lnTo>
                    <a:lnTo>
                      <a:pt x="1035" y="34"/>
                    </a:lnTo>
                    <a:lnTo>
                      <a:pt x="1047" y="40"/>
                    </a:lnTo>
                    <a:lnTo>
                      <a:pt x="1058" y="47"/>
                    </a:lnTo>
                    <a:lnTo>
                      <a:pt x="1070" y="55"/>
                    </a:lnTo>
                    <a:lnTo>
                      <a:pt x="1082" y="64"/>
                    </a:lnTo>
                    <a:lnTo>
                      <a:pt x="1094" y="74"/>
                    </a:lnTo>
                    <a:lnTo>
                      <a:pt x="1105" y="85"/>
                    </a:lnTo>
                    <a:lnTo>
                      <a:pt x="1117" y="97"/>
                    </a:lnTo>
                    <a:lnTo>
                      <a:pt x="1127" y="110"/>
                    </a:lnTo>
                    <a:lnTo>
                      <a:pt x="1138" y="123"/>
                    </a:lnTo>
                    <a:lnTo>
                      <a:pt x="1147" y="136"/>
                    </a:lnTo>
                    <a:lnTo>
                      <a:pt x="1155" y="150"/>
                    </a:lnTo>
                    <a:lnTo>
                      <a:pt x="1163" y="164"/>
                    </a:lnTo>
                    <a:lnTo>
                      <a:pt x="1169" y="178"/>
                    </a:lnTo>
                    <a:lnTo>
                      <a:pt x="1175" y="193"/>
                    </a:lnTo>
                    <a:lnTo>
                      <a:pt x="1179" y="208"/>
                    </a:lnTo>
                    <a:lnTo>
                      <a:pt x="1182" y="223"/>
                    </a:lnTo>
                    <a:lnTo>
                      <a:pt x="1184" y="239"/>
                    </a:lnTo>
                    <a:lnTo>
                      <a:pt x="1185" y="254"/>
                    </a:lnTo>
                    <a:lnTo>
                      <a:pt x="1184" y="270"/>
                    </a:lnTo>
                    <a:lnTo>
                      <a:pt x="1182" y="286"/>
                    </a:lnTo>
                    <a:lnTo>
                      <a:pt x="1178" y="302"/>
                    </a:lnTo>
                    <a:lnTo>
                      <a:pt x="1174" y="319"/>
                    </a:lnTo>
                    <a:lnTo>
                      <a:pt x="1166" y="336"/>
                    </a:lnTo>
                    <a:lnTo>
                      <a:pt x="1156" y="348"/>
                    </a:lnTo>
                    <a:lnTo>
                      <a:pt x="1144" y="359"/>
                    </a:lnTo>
                    <a:lnTo>
                      <a:pt x="1131" y="372"/>
                    </a:lnTo>
                    <a:lnTo>
                      <a:pt x="1118" y="384"/>
                    </a:lnTo>
                    <a:lnTo>
                      <a:pt x="1104" y="396"/>
                    </a:lnTo>
                    <a:lnTo>
                      <a:pt x="1090" y="406"/>
                    </a:lnTo>
                    <a:lnTo>
                      <a:pt x="1062" y="424"/>
                    </a:lnTo>
                    <a:lnTo>
                      <a:pt x="1034" y="440"/>
                    </a:lnTo>
                    <a:lnTo>
                      <a:pt x="1005" y="454"/>
                    </a:lnTo>
                    <a:lnTo>
                      <a:pt x="976" y="469"/>
                    </a:lnTo>
                    <a:lnTo>
                      <a:pt x="946" y="485"/>
                    </a:lnTo>
                    <a:lnTo>
                      <a:pt x="915" y="504"/>
                    </a:lnTo>
                    <a:lnTo>
                      <a:pt x="901" y="512"/>
                    </a:lnTo>
                    <a:lnTo>
                      <a:pt x="890" y="518"/>
                    </a:lnTo>
                    <a:lnTo>
                      <a:pt x="879" y="522"/>
                    </a:lnTo>
                    <a:lnTo>
                      <a:pt x="869" y="524"/>
                    </a:lnTo>
                    <a:lnTo>
                      <a:pt x="861" y="527"/>
                    </a:lnTo>
                    <a:lnTo>
                      <a:pt x="853" y="530"/>
                    </a:lnTo>
                    <a:lnTo>
                      <a:pt x="846" y="536"/>
                    </a:lnTo>
                    <a:lnTo>
                      <a:pt x="838" y="542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584"/>
              <p:cNvSpPr>
                <a:spLocks/>
              </p:cNvSpPr>
              <p:nvPr/>
            </p:nvSpPr>
            <p:spPr bwMode="auto">
              <a:xfrm>
                <a:off x="6740678" y="4477738"/>
                <a:ext cx="5826" cy="8740"/>
              </a:xfrm>
              <a:custGeom>
                <a:avLst/>
                <a:gdLst>
                  <a:gd name="T0" fmla="*/ 9 w 9"/>
                  <a:gd name="T1" fmla="*/ 0 h 11"/>
                  <a:gd name="T2" fmla="*/ 0 w 9"/>
                  <a:gd name="T3" fmla="*/ 11 h 11"/>
                  <a:gd name="T4" fmla="*/ 0 w 9"/>
                  <a:gd name="T5" fmla="*/ 0 h 11"/>
                  <a:gd name="T6" fmla="*/ 9 w 9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1">
                    <a:moveTo>
                      <a:pt x="9" y="0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585"/>
              <p:cNvSpPr>
                <a:spLocks/>
              </p:cNvSpPr>
              <p:nvPr/>
            </p:nvSpPr>
            <p:spPr bwMode="auto">
              <a:xfrm>
                <a:off x="6740678" y="4477738"/>
                <a:ext cx="11652" cy="11652"/>
              </a:xfrm>
              <a:custGeom>
                <a:avLst/>
                <a:gdLst>
                  <a:gd name="T0" fmla="*/ 0 w 15"/>
                  <a:gd name="T1" fmla="*/ 4 h 17"/>
                  <a:gd name="T2" fmla="*/ 4 w 15"/>
                  <a:gd name="T3" fmla="*/ 0 h 17"/>
                  <a:gd name="T4" fmla="*/ 15 w 15"/>
                  <a:gd name="T5" fmla="*/ 0 h 17"/>
                  <a:gd name="T6" fmla="*/ 0 w 15"/>
                  <a:gd name="T7" fmla="*/ 17 h 17"/>
                  <a:gd name="T8" fmla="*/ 0 w 15"/>
                  <a:gd name="T9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7">
                    <a:moveTo>
                      <a:pt x="0" y="4"/>
                    </a:moveTo>
                    <a:lnTo>
                      <a:pt x="4" y="0"/>
                    </a:lnTo>
                    <a:lnTo>
                      <a:pt x="15" y="0"/>
                    </a:lnTo>
                    <a:lnTo>
                      <a:pt x="0" y="17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586"/>
              <p:cNvSpPr>
                <a:spLocks/>
              </p:cNvSpPr>
              <p:nvPr/>
            </p:nvSpPr>
            <p:spPr bwMode="auto">
              <a:xfrm>
                <a:off x="6740678" y="4477738"/>
                <a:ext cx="14565" cy="17477"/>
              </a:xfrm>
              <a:custGeom>
                <a:avLst/>
                <a:gdLst>
                  <a:gd name="T0" fmla="*/ 0 w 21"/>
                  <a:gd name="T1" fmla="*/ 11 h 23"/>
                  <a:gd name="T2" fmla="*/ 9 w 21"/>
                  <a:gd name="T3" fmla="*/ 0 h 23"/>
                  <a:gd name="T4" fmla="*/ 21 w 21"/>
                  <a:gd name="T5" fmla="*/ 0 h 23"/>
                  <a:gd name="T6" fmla="*/ 0 w 21"/>
                  <a:gd name="T7" fmla="*/ 23 h 23"/>
                  <a:gd name="T8" fmla="*/ 0 w 21"/>
                  <a:gd name="T9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3">
                    <a:moveTo>
                      <a:pt x="0" y="11"/>
                    </a:moveTo>
                    <a:lnTo>
                      <a:pt x="9" y="0"/>
                    </a:lnTo>
                    <a:lnTo>
                      <a:pt x="21" y="0"/>
                    </a:lnTo>
                    <a:lnTo>
                      <a:pt x="0" y="23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587"/>
              <p:cNvSpPr>
                <a:spLocks/>
              </p:cNvSpPr>
              <p:nvPr/>
            </p:nvSpPr>
            <p:spPr bwMode="auto">
              <a:xfrm>
                <a:off x="6740678" y="4477738"/>
                <a:ext cx="20391" cy="20391"/>
              </a:xfrm>
              <a:custGeom>
                <a:avLst/>
                <a:gdLst>
                  <a:gd name="T0" fmla="*/ 0 w 27"/>
                  <a:gd name="T1" fmla="*/ 17 h 29"/>
                  <a:gd name="T2" fmla="*/ 15 w 27"/>
                  <a:gd name="T3" fmla="*/ 0 h 29"/>
                  <a:gd name="T4" fmla="*/ 27 w 27"/>
                  <a:gd name="T5" fmla="*/ 0 h 29"/>
                  <a:gd name="T6" fmla="*/ 0 w 27"/>
                  <a:gd name="T7" fmla="*/ 29 h 29"/>
                  <a:gd name="T8" fmla="*/ 0 w 27"/>
                  <a:gd name="T9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9">
                    <a:moveTo>
                      <a:pt x="0" y="17"/>
                    </a:moveTo>
                    <a:lnTo>
                      <a:pt x="15" y="0"/>
                    </a:lnTo>
                    <a:lnTo>
                      <a:pt x="27" y="0"/>
                    </a:lnTo>
                    <a:lnTo>
                      <a:pt x="0" y="29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588"/>
              <p:cNvSpPr>
                <a:spLocks/>
              </p:cNvSpPr>
              <p:nvPr/>
            </p:nvSpPr>
            <p:spPr bwMode="auto">
              <a:xfrm>
                <a:off x="6740678" y="4477738"/>
                <a:ext cx="23303" cy="26217"/>
              </a:xfrm>
              <a:custGeom>
                <a:avLst/>
                <a:gdLst>
                  <a:gd name="T0" fmla="*/ 0 w 33"/>
                  <a:gd name="T1" fmla="*/ 23 h 36"/>
                  <a:gd name="T2" fmla="*/ 21 w 33"/>
                  <a:gd name="T3" fmla="*/ 0 h 36"/>
                  <a:gd name="T4" fmla="*/ 33 w 33"/>
                  <a:gd name="T5" fmla="*/ 0 h 36"/>
                  <a:gd name="T6" fmla="*/ 0 w 33"/>
                  <a:gd name="T7" fmla="*/ 36 h 36"/>
                  <a:gd name="T8" fmla="*/ 0 w 33"/>
                  <a:gd name="T9" fmla="*/ 2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6">
                    <a:moveTo>
                      <a:pt x="0" y="23"/>
                    </a:moveTo>
                    <a:lnTo>
                      <a:pt x="21" y="0"/>
                    </a:lnTo>
                    <a:lnTo>
                      <a:pt x="33" y="0"/>
                    </a:lnTo>
                    <a:lnTo>
                      <a:pt x="0" y="36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589"/>
              <p:cNvSpPr>
                <a:spLocks/>
              </p:cNvSpPr>
              <p:nvPr/>
            </p:nvSpPr>
            <p:spPr bwMode="auto">
              <a:xfrm>
                <a:off x="6740678" y="4477738"/>
                <a:ext cx="29129" cy="32043"/>
              </a:xfrm>
              <a:custGeom>
                <a:avLst/>
                <a:gdLst>
                  <a:gd name="T0" fmla="*/ 0 w 39"/>
                  <a:gd name="T1" fmla="*/ 29 h 42"/>
                  <a:gd name="T2" fmla="*/ 27 w 39"/>
                  <a:gd name="T3" fmla="*/ 0 h 42"/>
                  <a:gd name="T4" fmla="*/ 39 w 39"/>
                  <a:gd name="T5" fmla="*/ 0 h 42"/>
                  <a:gd name="T6" fmla="*/ 0 w 39"/>
                  <a:gd name="T7" fmla="*/ 42 h 42"/>
                  <a:gd name="T8" fmla="*/ 0 w 39"/>
                  <a:gd name="T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2">
                    <a:moveTo>
                      <a:pt x="0" y="29"/>
                    </a:moveTo>
                    <a:lnTo>
                      <a:pt x="27" y="0"/>
                    </a:lnTo>
                    <a:lnTo>
                      <a:pt x="39" y="0"/>
                    </a:lnTo>
                    <a:lnTo>
                      <a:pt x="0" y="42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590"/>
              <p:cNvSpPr>
                <a:spLocks/>
              </p:cNvSpPr>
              <p:nvPr/>
            </p:nvSpPr>
            <p:spPr bwMode="auto">
              <a:xfrm>
                <a:off x="6740678" y="4477738"/>
                <a:ext cx="32043" cy="34955"/>
              </a:xfrm>
              <a:custGeom>
                <a:avLst/>
                <a:gdLst>
                  <a:gd name="T0" fmla="*/ 0 w 44"/>
                  <a:gd name="T1" fmla="*/ 36 h 49"/>
                  <a:gd name="T2" fmla="*/ 33 w 44"/>
                  <a:gd name="T3" fmla="*/ 0 h 49"/>
                  <a:gd name="T4" fmla="*/ 44 w 44"/>
                  <a:gd name="T5" fmla="*/ 0 h 49"/>
                  <a:gd name="T6" fmla="*/ 0 w 44"/>
                  <a:gd name="T7" fmla="*/ 49 h 49"/>
                  <a:gd name="T8" fmla="*/ 0 w 44"/>
                  <a:gd name="T9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9">
                    <a:moveTo>
                      <a:pt x="0" y="36"/>
                    </a:moveTo>
                    <a:lnTo>
                      <a:pt x="33" y="0"/>
                    </a:lnTo>
                    <a:lnTo>
                      <a:pt x="44" y="0"/>
                    </a:lnTo>
                    <a:lnTo>
                      <a:pt x="0" y="49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591"/>
              <p:cNvSpPr>
                <a:spLocks/>
              </p:cNvSpPr>
              <p:nvPr/>
            </p:nvSpPr>
            <p:spPr bwMode="auto">
              <a:xfrm>
                <a:off x="6740678" y="4477738"/>
                <a:ext cx="37869" cy="40780"/>
              </a:xfrm>
              <a:custGeom>
                <a:avLst/>
                <a:gdLst>
                  <a:gd name="T0" fmla="*/ 0 w 51"/>
                  <a:gd name="T1" fmla="*/ 42 h 55"/>
                  <a:gd name="T2" fmla="*/ 39 w 51"/>
                  <a:gd name="T3" fmla="*/ 0 h 55"/>
                  <a:gd name="T4" fmla="*/ 51 w 51"/>
                  <a:gd name="T5" fmla="*/ 0 h 55"/>
                  <a:gd name="T6" fmla="*/ 0 w 51"/>
                  <a:gd name="T7" fmla="*/ 55 h 55"/>
                  <a:gd name="T8" fmla="*/ 0 w 51"/>
                  <a:gd name="T9" fmla="*/ 4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5">
                    <a:moveTo>
                      <a:pt x="0" y="42"/>
                    </a:moveTo>
                    <a:lnTo>
                      <a:pt x="39" y="0"/>
                    </a:lnTo>
                    <a:lnTo>
                      <a:pt x="51" y="0"/>
                    </a:lnTo>
                    <a:lnTo>
                      <a:pt x="0" y="55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592"/>
              <p:cNvSpPr>
                <a:spLocks/>
              </p:cNvSpPr>
              <p:nvPr/>
            </p:nvSpPr>
            <p:spPr bwMode="auto">
              <a:xfrm>
                <a:off x="6740678" y="4477738"/>
                <a:ext cx="40780" cy="43694"/>
              </a:xfrm>
              <a:custGeom>
                <a:avLst/>
                <a:gdLst>
                  <a:gd name="T0" fmla="*/ 0 w 56"/>
                  <a:gd name="T1" fmla="*/ 49 h 61"/>
                  <a:gd name="T2" fmla="*/ 44 w 56"/>
                  <a:gd name="T3" fmla="*/ 0 h 61"/>
                  <a:gd name="T4" fmla="*/ 56 w 56"/>
                  <a:gd name="T5" fmla="*/ 0 h 61"/>
                  <a:gd name="T6" fmla="*/ 0 w 56"/>
                  <a:gd name="T7" fmla="*/ 61 h 61"/>
                  <a:gd name="T8" fmla="*/ 0 w 56"/>
                  <a:gd name="T9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1">
                    <a:moveTo>
                      <a:pt x="0" y="49"/>
                    </a:moveTo>
                    <a:lnTo>
                      <a:pt x="44" y="0"/>
                    </a:lnTo>
                    <a:lnTo>
                      <a:pt x="56" y="0"/>
                    </a:lnTo>
                    <a:lnTo>
                      <a:pt x="0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Freeform 593"/>
              <p:cNvSpPr>
                <a:spLocks/>
              </p:cNvSpPr>
              <p:nvPr/>
            </p:nvSpPr>
            <p:spPr bwMode="auto">
              <a:xfrm>
                <a:off x="6740678" y="4477738"/>
                <a:ext cx="46606" cy="49520"/>
              </a:xfrm>
              <a:custGeom>
                <a:avLst/>
                <a:gdLst>
                  <a:gd name="T0" fmla="*/ 0 w 63"/>
                  <a:gd name="T1" fmla="*/ 55 h 68"/>
                  <a:gd name="T2" fmla="*/ 51 w 63"/>
                  <a:gd name="T3" fmla="*/ 0 h 68"/>
                  <a:gd name="T4" fmla="*/ 63 w 63"/>
                  <a:gd name="T5" fmla="*/ 0 h 68"/>
                  <a:gd name="T6" fmla="*/ 0 w 63"/>
                  <a:gd name="T7" fmla="*/ 68 h 68"/>
                  <a:gd name="T8" fmla="*/ 0 w 63"/>
                  <a:gd name="T9" fmla="*/ 55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8">
                    <a:moveTo>
                      <a:pt x="0" y="55"/>
                    </a:moveTo>
                    <a:lnTo>
                      <a:pt x="51" y="0"/>
                    </a:lnTo>
                    <a:lnTo>
                      <a:pt x="63" y="0"/>
                    </a:lnTo>
                    <a:lnTo>
                      <a:pt x="0" y="68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Freeform 594"/>
              <p:cNvSpPr>
                <a:spLocks/>
              </p:cNvSpPr>
              <p:nvPr/>
            </p:nvSpPr>
            <p:spPr bwMode="auto">
              <a:xfrm>
                <a:off x="6740678" y="4477738"/>
                <a:ext cx="49520" cy="55346"/>
              </a:xfrm>
              <a:custGeom>
                <a:avLst/>
                <a:gdLst>
                  <a:gd name="T0" fmla="*/ 0 w 68"/>
                  <a:gd name="T1" fmla="*/ 61 h 74"/>
                  <a:gd name="T2" fmla="*/ 56 w 68"/>
                  <a:gd name="T3" fmla="*/ 0 h 74"/>
                  <a:gd name="T4" fmla="*/ 68 w 68"/>
                  <a:gd name="T5" fmla="*/ 0 h 74"/>
                  <a:gd name="T6" fmla="*/ 0 w 68"/>
                  <a:gd name="T7" fmla="*/ 74 h 74"/>
                  <a:gd name="T8" fmla="*/ 0 w 68"/>
                  <a:gd name="T9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74">
                    <a:moveTo>
                      <a:pt x="0" y="61"/>
                    </a:moveTo>
                    <a:lnTo>
                      <a:pt x="56" y="0"/>
                    </a:lnTo>
                    <a:lnTo>
                      <a:pt x="68" y="0"/>
                    </a:lnTo>
                    <a:lnTo>
                      <a:pt x="0" y="74"/>
                    </a:lnTo>
                    <a:lnTo>
                      <a:pt x="0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Freeform 595"/>
              <p:cNvSpPr>
                <a:spLocks/>
              </p:cNvSpPr>
              <p:nvPr/>
            </p:nvSpPr>
            <p:spPr bwMode="auto">
              <a:xfrm>
                <a:off x="6740678" y="4477738"/>
                <a:ext cx="55346" cy="58258"/>
              </a:xfrm>
              <a:custGeom>
                <a:avLst/>
                <a:gdLst>
                  <a:gd name="T0" fmla="*/ 0 w 75"/>
                  <a:gd name="T1" fmla="*/ 68 h 81"/>
                  <a:gd name="T2" fmla="*/ 63 w 75"/>
                  <a:gd name="T3" fmla="*/ 0 h 81"/>
                  <a:gd name="T4" fmla="*/ 75 w 75"/>
                  <a:gd name="T5" fmla="*/ 0 h 81"/>
                  <a:gd name="T6" fmla="*/ 0 w 75"/>
                  <a:gd name="T7" fmla="*/ 81 h 81"/>
                  <a:gd name="T8" fmla="*/ 0 w 75"/>
                  <a:gd name="T9" fmla="*/ 68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81">
                    <a:moveTo>
                      <a:pt x="0" y="68"/>
                    </a:moveTo>
                    <a:lnTo>
                      <a:pt x="63" y="0"/>
                    </a:lnTo>
                    <a:lnTo>
                      <a:pt x="75" y="0"/>
                    </a:lnTo>
                    <a:lnTo>
                      <a:pt x="0" y="81"/>
                    </a:lnTo>
                    <a:lnTo>
                      <a:pt x="0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Freeform 596"/>
              <p:cNvSpPr>
                <a:spLocks/>
              </p:cNvSpPr>
              <p:nvPr/>
            </p:nvSpPr>
            <p:spPr bwMode="auto">
              <a:xfrm>
                <a:off x="6740678" y="4477738"/>
                <a:ext cx="58258" cy="64084"/>
              </a:xfrm>
              <a:custGeom>
                <a:avLst/>
                <a:gdLst>
                  <a:gd name="T0" fmla="*/ 0 w 80"/>
                  <a:gd name="T1" fmla="*/ 74 h 87"/>
                  <a:gd name="T2" fmla="*/ 68 w 80"/>
                  <a:gd name="T3" fmla="*/ 0 h 87"/>
                  <a:gd name="T4" fmla="*/ 80 w 80"/>
                  <a:gd name="T5" fmla="*/ 0 h 87"/>
                  <a:gd name="T6" fmla="*/ 0 w 80"/>
                  <a:gd name="T7" fmla="*/ 87 h 87"/>
                  <a:gd name="T8" fmla="*/ 0 w 80"/>
                  <a:gd name="T9" fmla="*/ 7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87">
                    <a:moveTo>
                      <a:pt x="0" y="74"/>
                    </a:moveTo>
                    <a:lnTo>
                      <a:pt x="68" y="0"/>
                    </a:lnTo>
                    <a:lnTo>
                      <a:pt x="80" y="0"/>
                    </a:lnTo>
                    <a:lnTo>
                      <a:pt x="0" y="87"/>
                    </a:lnTo>
                    <a:lnTo>
                      <a:pt x="0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Freeform 597"/>
              <p:cNvSpPr>
                <a:spLocks/>
              </p:cNvSpPr>
              <p:nvPr/>
            </p:nvSpPr>
            <p:spPr bwMode="auto">
              <a:xfrm>
                <a:off x="6740678" y="4477738"/>
                <a:ext cx="64084" cy="66997"/>
              </a:xfrm>
              <a:custGeom>
                <a:avLst/>
                <a:gdLst>
                  <a:gd name="T0" fmla="*/ 0 w 86"/>
                  <a:gd name="T1" fmla="*/ 81 h 94"/>
                  <a:gd name="T2" fmla="*/ 75 w 86"/>
                  <a:gd name="T3" fmla="*/ 0 h 94"/>
                  <a:gd name="T4" fmla="*/ 86 w 86"/>
                  <a:gd name="T5" fmla="*/ 0 h 94"/>
                  <a:gd name="T6" fmla="*/ 0 w 86"/>
                  <a:gd name="T7" fmla="*/ 94 h 94"/>
                  <a:gd name="T8" fmla="*/ 0 w 86"/>
                  <a:gd name="T9" fmla="*/ 8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94">
                    <a:moveTo>
                      <a:pt x="0" y="81"/>
                    </a:moveTo>
                    <a:lnTo>
                      <a:pt x="75" y="0"/>
                    </a:lnTo>
                    <a:lnTo>
                      <a:pt x="86" y="0"/>
                    </a:lnTo>
                    <a:lnTo>
                      <a:pt x="0" y="94"/>
                    </a:lnTo>
                    <a:lnTo>
                      <a:pt x="0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Freeform 598"/>
              <p:cNvSpPr>
                <a:spLocks/>
              </p:cNvSpPr>
              <p:nvPr/>
            </p:nvSpPr>
            <p:spPr bwMode="auto">
              <a:xfrm>
                <a:off x="6740678" y="4477738"/>
                <a:ext cx="64084" cy="72823"/>
              </a:xfrm>
              <a:custGeom>
                <a:avLst/>
                <a:gdLst>
                  <a:gd name="T0" fmla="*/ 0 w 87"/>
                  <a:gd name="T1" fmla="*/ 87 h 100"/>
                  <a:gd name="T2" fmla="*/ 80 w 87"/>
                  <a:gd name="T3" fmla="*/ 0 h 100"/>
                  <a:gd name="T4" fmla="*/ 87 w 87"/>
                  <a:gd name="T5" fmla="*/ 0 h 100"/>
                  <a:gd name="T6" fmla="*/ 87 w 87"/>
                  <a:gd name="T7" fmla="*/ 0 h 100"/>
                  <a:gd name="T8" fmla="*/ 87 w 87"/>
                  <a:gd name="T9" fmla="*/ 5 h 100"/>
                  <a:gd name="T10" fmla="*/ 0 w 87"/>
                  <a:gd name="T11" fmla="*/ 100 h 100"/>
                  <a:gd name="T12" fmla="*/ 0 w 87"/>
                  <a:gd name="T13" fmla="*/ 87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0">
                    <a:moveTo>
                      <a:pt x="0" y="87"/>
                    </a:moveTo>
                    <a:lnTo>
                      <a:pt x="80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0" y="100"/>
                    </a:lnTo>
                    <a:lnTo>
                      <a:pt x="0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Freeform 599"/>
              <p:cNvSpPr>
                <a:spLocks/>
              </p:cNvSpPr>
              <p:nvPr/>
            </p:nvSpPr>
            <p:spPr bwMode="auto">
              <a:xfrm>
                <a:off x="6740678" y="4477738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6 w 87"/>
                  <a:gd name="T3" fmla="*/ 0 h 107"/>
                  <a:gd name="T4" fmla="*/ 87 w 87"/>
                  <a:gd name="T5" fmla="*/ 0 h 107"/>
                  <a:gd name="T6" fmla="*/ 87 w 87"/>
                  <a:gd name="T7" fmla="*/ 0 h 107"/>
                  <a:gd name="T8" fmla="*/ 87 w 87"/>
                  <a:gd name="T9" fmla="*/ 12 h 107"/>
                  <a:gd name="T10" fmla="*/ 0 w 87"/>
                  <a:gd name="T11" fmla="*/ 107 h 107"/>
                  <a:gd name="T12" fmla="*/ 0 w 87"/>
                  <a:gd name="T13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6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12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Freeform 600"/>
              <p:cNvSpPr>
                <a:spLocks/>
              </p:cNvSpPr>
              <p:nvPr/>
            </p:nvSpPr>
            <p:spPr bwMode="auto">
              <a:xfrm>
                <a:off x="6740678" y="4480650"/>
                <a:ext cx="64084" cy="78649"/>
              </a:xfrm>
              <a:custGeom>
                <a:avLst/>
                <a:gdLst>
                  <a:gd name="T0" fmla="*/ 0 w 87"/>
                  <a:gd name="T1" fmla="*/ 95 h 108"/>
                  <a:gd name="T2" fmla="*/ 87 w 87"/>
                  <a:gd name="T3" fmla="*/ 0 h 108"/>
                  <a:gd name="T4" fmla="*/ 87 w 87"/>
                  <a:gd name="T5" fmla="*/ 13 h 108"/>
                  <a:gd name="T6" fmla="*/ 0 w 87"/>
                  <a:gd name="T7" fmla="*/ 108 h 108"/>
                  <a:gd name="T8" fmla="*/ 0 w 87"/>
                  <a:gd name="T9" fmla="*/ 9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8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Freeform 601"/>
              <p:cNvSpPr>
                <a:spLocks/>
              </p:cNvSpPr>
              <p:nvPr/>
            </p:nvSpPr>
            <p:spPr bwMode="auto">
              <a:xfrm>
                <a:off x="6740678" y="4486476"/>
                <a:ext cx="64084" cy="78649"/>
              </a:xfrm>
              <a:custGeom>
                <a:avLst/>
                <a:gdLst>
                  <a:gd name="T0" fmla="*/ 0 w 87"/>
                  <a:gd name="T1" fmla="*/ 95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Freeform 602"/>
              <p:cNvSpPr>
                <a:spLocks/>
              </p:cNvSpPr>
              <p:nvPr/>
            </p:nvSpPr>
            <p:spPr bwMode="auto">
              <a:xfrm>
                <a:off x="6740678" y="4492302"/>
                <a:ext cx="64084" cy="75735"/>
              </a:xfrm>
              <a:custGeom>
                <a:avLst/>
                <a:gdLst>
                  <a:gd name="T0" fmla="*/ 0 w 87"/>
                  <a:gd name="T1" fmla="*/ 95 h 108"/>
                  <a:gd name="T2" fmla="*/ 87 w 87"/>
                  <a:gd name="T3" fmla="*/ 0 h 108"/>
                  <a:gd name="T4" fmla="*/ 87 w 87"/>
                  <a:gd name="T5" fmla="*/ 13 h 108"/>
                  <a:gd name="T6" fmla="*/ 0 w 87"/>
                  <a:gd name="T7" fmla="*/ 108 h 108"/>
                  <a:gd name="T8" fmla="*/ 0 w 87"/>
                  <a:gd name="T9" fmla="*/ 9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8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8" name="Freeform 603"/>
              <p:cNvSpPr>
                <a:spLocks/>
              </p:cNvSpPr>
              <p:nvPr/>
            </p:nvSpPr>
            <p:spPr bwMode="auto">
              <a:xfrm>
                <a:off x="6740678" y="4495216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9" name="Freeform 604"/>
              <p:cNvSpPr>
                <a:spLocks/>
              </p:cNvSpPr>
              <p:nvPr/>
            </p:nvSpPr>
            <p:spPr bwMode="auto">
              <a:xfrm>
                <a:off x="6740678" y="4501041"/>
                <a:ext cx="64084" cy="78649"/>
              </a:xfrm>
              <a:custGeom>
                <a:avLst/>
                <a:gdLst>
                  <a:gd name="T0" fmla="*/ 0 w 87"/>
                  <a:gd name="T1" fmla="*/ 95 h 108"/>
                  <a:gd name="T2" fmla="*/ 87 w 87"/>
                  <a:gd name="T3" fmla="*/ 0 h 108"/>
                  <a:gd name="T4" fmla="*/ 87 w 87"/>
                  <a:gd name="T5" fmla="*/ 13 h 108"/>
                  <a:gd name="T6" fmla="*/ 0 w 87"/>
                  <a:gd name="T7" fmla="*/ 108 h 108"/>
                  <a:gd name="T8" fmla="*/ 0 w 87"/>
                  <a:gd name="T9" fmla="*/ 9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8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0" name="Freeform 605"/>
              <p:cNvSpPr>
                <a:spLocks/>
              </p:cNvSpPr>
              <p:nvPr/>
            </p:nvSpPr>
            <p:spPr bwMode="auto">
              <a:xfrm>
                <a:off x="6740678" y="4503953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1" name="Freeform 606"/>
              <p:cNvSpPr>
                <a:spLocks/>
              </p:cNvSpPr>
              <p:nvPr/>
            </p:nvSpPr>
            <p:spPr bwMode="auto">
              <a:xfrm>
                <a:off x="6740678" y="4509779"/>
                <a:ext cx="64084" cy="78649"/>
              </a:xfrm>
              <a:custGeom>
                <a:avLst/>
                <a:gdLst>
                  <a:gd name="T0" fmla="*/ 0 w 87"/>
                  <a:gd name="T1" fmla="*/ 95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2" name="Freeform 607"/>
              <p:cNvSpPr>
                <a:spLocks/>
              </p:cNvSpPr>
              <p:nvPr/>
            </p:nvSpPr>
            <p:spPr bwMode="auto">
              <a:xfrm>
                <a:off x="6740678" y="4515605"/>
                <a:ext cx="64084" cy="75735"/>
              </a:xfrm>
              <a:custGeom>
                <a:avLst/>
                <a:gdLst>
                  <a:gd name="T0" fmla="*/ 0 w 87"/>
                  <a:gd name="T1" fmla="*/ 94 h 106"/>
                  <a:gd name="T2" fmla="*/ 87 w 87"/>
                  <a:gd name="T3" fmla="*/ 0 h 106"/>
                  <a:gd name="T4" fmla="*/ 87 w 87"/>
                  <a:gd name="T5" fmla="*/ 13 h 106"/>
                  <a:gd name="T6" fmla="*/ 0 w 87"/>
                  <a:gd name="T7" fmla="*/ 106 h 106"/>
                  <a:gd name="T8" fmla="*/ 0 w 87"/>
                  <a:gd name="T9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6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6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Freeform 609"/>
              <p:cNvSpPr>
                <a:spLocks/>
              </p:cNvSpPr>
              <p:nvPr/>
            </p:nvSpPr>
            <p:spPr bwMode="auto">
              <a:xfrm>
                <a:off x="6740678" y="4518519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Freeform 610"/>
              <p:cNvSpPr>
                <a:spLocks/>
              </p:cNvSpPr>
              <p:nvPr/>
            </p:nvSpPr>
            <p:spPr bwMode="auto">
              <a:xfrm>
                <a:off x="6740678" y="4524344"/>
                <a:ext cx="64084" cy="78649"/>
              </a:xfrm>
              <a:custGeom>
                <a:avLst/>
                <a:gdLst>
                  <a:gd name="T0" fmla="*/ 0 w 87"/>
                  <a:gd name="T1" fmla="*/ 93 h 106"/>
                  <a:gd name="T2" fmla="*/ 87 w 87"/>
                  <a:gd name="T3" fmla="*/ 0 h 106"/>
                  <a:gd name="T4" fmla="*/ 87 w 87"/>
                  <a:gd name="T5" fmla="*/ 12 h 106"/>
                  <a:gd name="T6" fmla="*/ 0 w 87"/>
                  <a:gd name="T7" fmla="*/ 106 h 106"/>
                  <a:gd name="T8" fmla="*/ 0 w 87"/>
                  <a:gd name="T9" fmla="*/ 9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6">
                    <a:moveTo>
                      <a:pt x="0" y="93"/>
                    </a:moveTo>
                    <a:lnTo>
                      <a:pt x="87" y="0"/>
                    </a:lnTo>
                    <a:lnTo>
                      <a:pt x="87" y="12"/>
                    </a:lnTo>
                    <a:lnTo>
                      <a:pt x="0" y="106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Freeform 611"/>
              <p:cNvSpPr>
                <a:spLocks/>
              </p:cNvSpPr>
              <p:nvPr/>
            </p:nvSpPr>
            <p:spPr bwMode="auto">
              <a:xfrm>
                <a:off x="6740678" y="4530170"/>
                <a:ext cx="64084" cy="75735"/>
              </a:xfrm>
              <a:custGeom>
                <a:avLst/>
                <a:gdLst>
                  <a:gd name="T0" fmla="*/ 0 w 87"/>
                  <a:gd name="T1" fmla="*/ 94 h 106"/>
                  <a:gd name="T2" fmla="*/ 87 w 87"/>
                  <a:gd name="T3" fmla="*/ 0 h 106"/>
                  <a:gd name="T4" fmla="*/ 87 w 87"/>
                  <a:gd name="T5" fmla="*/ 13 h 106"/>
                  <a:gd name="T6" fmla="*/ 0 w 87"/>
                  <a:gd name="T7" fmla="*/ 106 h 106"/>
                  <a:gd name="T8" fmla="*/ 0 w 87"/>
                  <a:gd name="T9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6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6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Freeform 612"/>
              <p:cNvSpPr>
                <a:spLocks/>
              </p:cNvSpPr>
              <p:nvPr/>
            </p:nvSpPr>
            <p:spPr bwMode="auto">
              <a:xfrm>
                <a:off x="6740678" y="4533082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2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2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Freeform 613"/>
              <p:cNvSpPr>
                <a:spLocks/>
              </p:cNvSpPr>
              <p:nvPr/>
            </p:nvSpPr>
            <p:spPr bwMode="auto">
              <a:xfrm>
                <a:off x="6740678" y="4538908"/>
                <a:ext cx="64084" cy="75735"/>
              </a:xfrm>
              <a:custGeom>
                <a:avLst/>
                <a:gdLst>
                  <a:gd name="T0" fmla="*/ 0 w 87"/>
                  <a:gd name="T1" fmla="*/ 93 h 106"/>
                  <a:gd name="T2" fmla="*/ 87 w 87"/>
                  <a:gd name="T3" fmla="*/ 0 h 106"/>
                  <a:gd name="T4" fmla="*/ 87 w 87"/>
                  <a:gd name="T5" fmla="*/ 12 h 106"/>
                  <a:gd name="T6" fmla="*/ 0 w 87"/>
                  <a:gd name="T7" fmla="*/ 106 h 106"/>
                  <a:gd name="T8" fmla="*/ 0 w 87"/>
                  <a:gd name="T9" fmla="*/ 9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6">
                    <a:moveTo>
                      <a:pt x="0" y="93"/>
                    </a:moveTo>
                    <a:lnTo>
                      <a:pt x="87" y="0"/>
                    </a:lnTo>
                    <a:lnTo>
                      <a:pt x="87" y="12"/>
                    </a:lnTo>
                    <a:lnTo>
                      <a:pt x="0" y="106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Freeform 614"/>
              <p:cNvSpPr>
                <a:spLocks/>
              </p:cNvSpPr>
              <p:nvPr/>
            </p:nvSpPr>
            <p:spPr bwMode="auto">
              <a:xfrm>
                <a:off x="6740678" y="4541822"/>
                <a:ext cx="64084" cy="78649"/>
              </a:xfrm>
              <a:custGeom>
                <a:avLst/>
                <a:gdLst>
                  <a:gd name="T0" fmla="*/ 0 w 87"/>
                  <a:gd name="T1" fmla="*/ 95 h 108"/>
                  <a:gd name="T2" fmla="*/ 87 w 87"/>
                  <a:gd name="T3" fmla="*/ 0 h 108"/>
                  <a:gd name="T4" fmla="*/ 87 w 87"/>
                  <a:gd name="T5" fmla="*/ 13 h 108"/>
                  <a:gd name="T6" fmla="*/ 0 w 87"/>
                  <a:gd name="T7" fmla="*/ 108 h 108"/>
                  <a:gd name="T8" fmla="*/ 0 w 87"/>
                  <a:gd name="T9" fmla="*/ 9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8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Freeform 615"/>
              <p:cNvSpPr>
                <a:spLocks/>
              </p:cNvSpPr>
              <p:nvPr/>
            </p:nvSpPr>
            <p:spPr bwMode="auto">
              <a:xfrm>
                <a:off x="6740678" y="4547648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Freeform 616"/>
              <p:cNvSpPr>
                <a:spLocks/>
              </p:cNvSpPr>
              <p:nvPr/>
            </p:nvSpPr>
            <p:spPr bwMode="auto">
              <a:xfrm>
                <a:off x="6740678" y="4550560"/>
                <a:ext cx="64084" cy="78649"/>
              </a:xfrm>
              <a:custGeom>
                <a:avLst/>
                <a:gdLst>
                  <a:gd name="T0" fmla="*/ 0 w 87"/>
                  <a:gd name="T1" fmla="*/ 95 h 108"/>
                  <a:gd name="T2" fmla="*/ 87 w 87"/>
                  <a:gd name="T3" fmla="*/ 0 h 108"/>
                  <a:gd name="T4" fmla="*/ 87 w 87"/>
                  <a:gd name="T5" fmla="*/ 13 h 108"/>
                  <a:gd name="T6" fmla="*/ 0 w 87"/>
                  <a:gd name="T7" fmla="*/ 108 h 108"/>
                  <a:gd name="T8" fmla="*/ 0 w 87"/>
                  <a:gd name="T9" fmla="*/ 95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8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Freeform 617"/>
              <p:cNvSpPr>
                <a:spLocks/>
              </p:cNvSpPr>
              <p:nvPr/>
            </p:nvSpPr>
            <p:spPr bwMode="auto">
              <a:xfrm>
                <a:off x="6740678" y="4556385"/>
                <a:ext cx="64084" cy="78649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3 h 107"/>
                  <a:gd name="T6" fmla="*/ 0 w 87"/>
                  <a:gd name="T7" fmla="*/ 107 h 107"/>
                  <a:gd name="T8" fmla="*/ 0 w 87"/>
                  <a:gd name="T9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Freeform 618"/>
              <p:cNvSpPr>
                <a:spLocks/>
              </p:cNvSpPr>
              <p:nvPr/>
            </p:nvSpPr>
            <p:spPr bwMode="auto">
              <a:xfrm>
                <a:off x="6740678" y="4562211"/>
                <a:ext cx="64084" cy="75735"/>
              </a:xfrm>
              <a:custGeom>
                <a:avLst/>
                <a:gdLst>
                  <a:gd name="T0" fmla="*/ 0 w 87"/>
                  <a:gd name="T1" fmla="*/ 95 h 107"/>
                  <a:gd name="T2" fmla="*/ 87 w 87"/>
                  <a:gd name="T3" fmla="*/ 0 h 107"/>
                  <a:gd name="T4" fmla="*/ 87 w 87"/>
                  <a:gd name="T5" fmla="*/ 13 h 107"/>
                  <a:gd name="T6" fmla="*/ 1 w 87"/>
                  <a:gd name="T7" fmla="*/ 107 h 107"/>
                  <a:gd name="T8" fmla="*/ 0 w 87"/>
                  <a:gd name="T9" fmla="*/ 107 h 107"/>
                  <a:gd name="T10" fmla="*/ 0 w 87"/>
                  <a:gd name="T11" fmla="*/ 9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07">
                    <a:moveTo>
                      <a:pt x="0" y="95"/>
                    </a:moveTo>
                    <a:lnTo>
                      <a:pt x="87" y="0"/>
                    </a:lnTo>
                    <a:lnTo>
                      <a:pt x="87" y="13"/>
                    </a:lnTo>
                    <a:lnTo>
                      <a:pt x="1" y="107"/>
                    </a:lnTo>
                    <a:lnTo>
                      <a:pt x="0" y="107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Freeform 619"/>
              <p:cNvSpPr>
                <a:spLocks/>
              </p:cNvSpPr>
              <p:nvPr/>
            </p:nvSpPr>
            <p:spPr bwMode="auto">
              <a:xfrm>
                <a:off x="6740678" y="4565125"/>
                <a:ext cx="64084" cy="72823"/>
              </a:xfrm>
              <a:custGeom>
                <a:avLst/>
                <a:gdLst>
                  <a:gd name="T0" fmla="*/ 0 w 87"/>
                  <a:gd name="T1" fmla="*/ 94 h 100"/>
                  <a:gd name="T2" fmla="*/ 87 w 87"/>
                  <a:gd name="T3" fmla="*/ 0 h 100"/>
                  <a:gd name="T4" fmla="*/ 87 w 87"/>
                  <a:gd name="T5" fmla="*/ 12 h 100"/>
                  <a:gd name="T6" fmla="*/ 7 w 87"/>
                  <a:gd name="T7" fmla="*/ 100 h 100"/>
                  <a:gd name="T8" fmla="*/ 0 w 87"/>
                  <a:gd name="T9" fmla="*/ 100 h 100"/>
                  <a:gd name="T10" fmla="*/ 0 w 87"/>
                  <a:gd name="T11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00">
                    <a:moveTo>
                      <a:pt x="0" y="94"/>
                    </a:moveTo>
                    <a:lnTo>
                      <a:pt x="87" y="0"/>
                    </a:lnTo>
                    <a:lnTo>
                      <a:pt x="87" y="12"/>
                    </a:lnTo>
                    <a:lnTo>
                      <a:pt x="7" y="100"/>
                    </a:lnTo>
                    <a:lnTo>
                      <a:pt x="0" y="10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Freeform 620"/>
              <p:cNvSpPr>
                <a:spLocks/>
              </p:cNvSpPr>
              <p:nvPr/>
            </p:nvSpPr>
            <p:spPr bwMode="auto">
              <a:xfrm>
                <a:off x="6740678" y="4570951"/>
                <a:ext cx="64084" cy="66997"/>
              </a:xfrm>
              <a:custGeom>
                <a:avLst/>
                <a:gdLst>
                  <a:gd name="T0" fmla="*/ 0 w 86"/>
                  <a:gd name="T1" fmla="*/ 94 h 94"/>
                  <a:gd name="T2" fmla="*/ 86 w 86"/>
                  <a:gd name="T3" fmla="*/ 0 h 94"/>
                  <a:gd name="T4" fmla="*/ 86 w 86"/>
                  <a:gd name="T5" fmla="*/ 13 h 94"/>
                  <a:gd name="T6" fmla="*/ 12 w 86"/>
                  <a:gd name="T7" fmla="*/ 94 h 94"/>
                  <a:gd name="T8" fmla="*/ 0 w 86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94">
                    <a:moveTo>
                      <a:pt x="0" y="94"/>
                    </a:moveTo>
                    <a:lnTo>
                      <a:pt x="86" y="0"/>
                    </a:lnTo>
                    <a:lnTo>
                      <a:pt x="86" y="13"/>
                    </a:lnTo>
                    <a:lnTo>
                      <a:pt x="12" y="9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Freeform 621"/>
              <p:cNvSpPr>
                <a:spLocks/>
              </p:cNvSpPr>
              <p:nvPr/>
            </p:nvSpPr>
            <p:spPr bwMode="auto">
              <a:xfrm>
                <a:off x="6746504" y="4573863"/>
                <a:ext cx="58258" cy="64084"/>
              </a:xfrm>
              <a:custGeom>
                <a:avLst/>
                <a:gdLst>
                  <a:gd name="T0" fmla="*/ 0 w 80"/>
                  <a:gd name="T1" fmla="*/ 88 h 88"/>
                  <a:gd name="T2" fmla="*/ 80 w 80"/>
                  <a:gd name="T3" fmla="*/ 0 h 88"/>
                  <a:gd name="T4" fmla="*/ 80 w 80"/>
                  <a:gd name="T5" fmla="*/ 13 h 88"/>
                  <a:gd name="T6" fmla="*/ 12 w 80"/>
                  <a:gd name="T7" fmla="*/ 88 h 88"/>
                  <a:gd name="T8" fmla="*/ 0 w 80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88">
                    <a:moveTo>
                      <a:pt x="0" y="88"/>
                    </a:moveTo>
                    <a:lnTo>
                      <a:pt x="80" y="0"/>
                    </a:lnTo>
                    <a:lnTo>
                      <a:pt x="80" y="13"/>
                    </a:lnTo>
                    <a:lnTo>
                      <a:pt x="12" y="88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Freeform 622"/>
              <p:cNvSpPr>
                <a:spLocks/>
              </p:cNvSpPr>
              <p:nvPr/>
            </p:nvSpPr>
            <p:spPr bwMode="auto">
              <a:xfrm>
                <a:off x="6749416" y="4579688"/>
                <a:ext cx="55346" cy="58258"/>
              </a:xfrm>
              <a:custGeom>
                <a:avLst/>
                <a:gdLst>
                  <a:gd name="T0" fmla="*/ 0 w 74"/>
                  <a:gd name="T1" fmla="*/ 81 h 81"/>
                  <a:gd name="T2" fmla="*/ 74 w 74"/>
                  <a:gd name="T3" fmla="*/ 0 h 81"/>
                  <a:gd name="T4" fmla="*/ 74 w 74"/>
                  <a:gd name="T5" fmla="*/ 13 h 81"/>
                  <a:gd name="T6" fmla="*/ 12 w 74"/>
                  <a:gd name="T7" fmla="*/ 81 h 81"/>
                  <a:gd name="T8" fmla="*/ 0 w 74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81">
                    <a:moveTo>
                      <a:pt x="0" y="81"/>
                    </a:moveTo>
                    <a:lnTo>
                      <a:pt x="74" y="0"/>
                    </a:lnTo>
                    <a:lnTo>
                      <a:pt x="74" y="13"/>
                    </a:lnTo>
                    <a:lnTo>
                      <a:pt x="12" y="81"/>
                    </a:lnTo>
                    <a:lnTo>
                      <a:pt x="0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Freeform 623"/>
              <p:cNvSpPr>
                <a:spLocks/>
              </p:cNvSpPr>
              <p:nvPr/>
            </p:nvSpPr>
            <p:spPr bwMode="auto">
              <a:xfrm>
                <a:off x="6755241" y="4585514"/>
                <a:ext cx="49520" cy="52432"/>
              </a:xfrm>
              <a:custGeom>
                <a:avLst/>
                <a:gdLst>
                  <a:gd name="T0" fmla="*/ 0 w 68"/>
                  <a:gd name="T1" fmla="*/ 75 h 75"/>
                  <a:gd name="T2" fmla="*/ 68 w 68"/>
                  <a:gd name="T3" fmla="*/ 0 h 75"/>
                  <a:gd name="T4" fmla="*/ 68 w 68"/>
                  <a:gd name="T5" fmla="*/ 13 h 75"/>
                  <a:gd name="T6" fmla="*/ 11 w 68"/>
                  <a:gd name="T7" fmla="*/ 75 h 75"/>
                  <a:gd name="T8" fmla="*/ 0 w 68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75">
                    <a:moveTo>
                      <a:pt x="0" y="75"/>
                    </a:moveTo>
                    <a:lnTo>
                      <a:pt x="68" y="0"/>
                    </a:lnTo>
                    <a:lnTo>
                      <a:pt x="68" y="13"/>
                    </a:lnTo>
                    <a:lnTo>
                      <a:pt x="11" y="75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Freeform 624"/>
              <p:cNvSpPr>
                <a:spLocks/>
              </p:cNvSpPr>
              <p:nvPr/>
            </p:nvSpPr>
            <p:spPr bwMode="auto">
              <a:xfrm>
                <a:off x="6758155" y="4588428"/>
                <a:ext cx="46606" cy="49520"/>
              </a:xfrm>
              <a:custGeom>
                <a:avLst/>
                <a:gdLst>
                  <a:gd name="T0" fmla="*/ 0 w 62"/>
                  <a:gd name="T1" fmla="*/ 68 h 68"/>
                  <a:gd name="T2" fmla="*/ 62 w 62"/>
                  <a:gd name="T3" fmla="*/ 0 h 68"/>
                  <a:gd name="T4" fmla="*/ 62 w 62"/>
                  <a:gd name="T5" fmla="*/ 13 h 68"/>
                  <a:gd name="T6" fmla="*/ 12 w 62"/>
                  <a:gd name="T7" fmla="*/ 68 h 68"/>
                  <a:gd name="T8" fmla="*/ 0 w 62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68">
                    <a:moveTo>
                      <a:pt x="0" y="68"/>
                    </a:moveTo>
                    <a:lnTo>
                      <a:pt x="62" y="0"/>
                    </a:lnTo>
                    <a:lnTo>
                      <a:pt x="62" y="13"/>
                    </a:lnTo>
                    <a:lnTo>
                      <a:pt x="12" y="68"/>
                    </a:lnTo>
                    <a:lnTo>
                      <a:pt x="0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Freeform 625"/>
              <p:cNvSpPr>
                <a:spLocks/>
              </p:cNvSpPr>
              <p:nvPr/>
            </p:nvSpPr>
            <p:spPr bwMode="auto">
              <a:xfrm>
                <a:off x="6763981" y="4594254"/>
                <a:ext cx="40780" cy="43694"/>
              </a:xfrm>
              <a:custGeom>
                <a:avLst/>
                <a:gdLst>
                  <a:gd name="T0" fmla="*/ 0 w 57"/>
                  <a:gd name="T1" fmla="*/ 62 h 62"/>
                  <a:gd name="T2" fmla="*/ 57 w 57"/>
                  <a:gd name="T3" fmla="*/ 0 h 62"/>
                  <a:gd name="T4" fmla="*/ 57 w 57"/>
                  <a:gd name="T5" fmla="*/ 13 h 62"/>
                  <a:gd name="T6" fmla="*/ 12 w 57"/>
                  <a:gd name="T7" fmla="*/ 62 h 62"/>
                  <a:gd name="T8" fmla="*/ 0 w 57"/>
                  <a:gd name="T9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62">
                    <a:moveTo>
                      <a:pt x="0" y="62"/>
                    </a:moveTo>
                    <a:lnTo>
                      <a:pt x="57" y="0"/>
                    </a:lnTo>
                    <a:lnTo>
                      <a:pt x="57" y="13"/>
                    </a:lnTo>
                    <a:lnTo>
                      <a:pt x="12" y="62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Freeform 626"/>
              <p:cNvSpPr>
                <a:spLocks/>
              </p:cNvSpPr>
              <p:nvPr/>
            </p:nvSpPr>
            <p:spPr bwMode="auto">
              <a:xfrm>
                <a:off x="6766893" y="4597166"/>
                <a:ext cx="37869" cy="40780"/>
              </a:xfrm>
              <a:custGeom>
                <a:avLst/>
                <a:gdLst>
                  <a:gd name="T0" fmla="*/ 0 w 50"/>
                  <a:gd name="T1" fmla="*/ 55 h 55"/>
                  <a:gd name="T2" fmla="*/ 50 w 50"/>
                  <a:gd name="T3" fmla="*/ 0 h 55"/>
                  <a:gd name="T4" fmla="*/ 50 w 50"/>
                  <a:gd name="T5" fmla="*/ 13 h 55"/>
                  <a:gd name="T6" fmla="*/ 12 w 50"/>
                  <a:gd name="T7" fmla="*/ 55 h 55"/>
                  <a:gd name="T8" fmla="*/ 0 w 50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5">
                    <a:moveTo>
                      <a:pt x="0" y="55"/>
                    </a:moveTo>
                    <a:lnTo>
                      <a:pt x="50" y="0"/>
                    </a:lnTo>
                    <a:lnTo>
                      <a:pt x="50" y="13"/>
                    </a:lnTo>
                    <a:lnTo>
                      <a:pt x="12" y="55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Freeform 627"/>
              <p:cNvSpPr>
                <a:spLocks/>
              </p:cNvSpPr>
              <p:nvPr/>
            </p:nvSpPr>
            <p:spPr bwMode="auto">
              <a:xfrm>
                <a:off x="6772719" y="4602992"/>
                <a:ext cx="32043" cy="34955"/>
              </a:xfrm>
              <a:custGeom>
                <a:avLst/>
                <a:gdLst>
                  <a:gd name="T0" fmla="*/ 0 w 45"/>
                  <a:gd name="T1" fmla="*/ 49 h 49"/>
                  <a:gd name="T2" fmla="*/ 45 w 45"/>
                  <a:gd name="T3" fmla="*/ 0 h 49"/>
                  <a:gd name="T4" fmla="*/ 45 w 45"/>
                  <a:gd name="T5" fmla="*/ 13 h 49"/>
                  <a:gd name="T6" fmla="*/ 12 w 45"/>
                  <a:gd name="T7" fmla="*/ 49 h 49"/>
                  <a:gd name="T8" fmla="*/ 0 w 45"/>
                  <a:gd name="T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49">
                    <a:moveTo>
                      <a:pt x="0" y="49"/>
                    </a:moveTo>
                    <a:lnTo>
                      <a:pt x="45" y="0"/>
                    </a:lnTo>
                    <a:lnTo>
                      <a:pt x="45" y="13"/>
                    </a:lnTo>
                    <a:lnTo>
                      <a:pt x="12" y="49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Freeform 628"/>
              <p:cNvSpPr>
                <a:spLocks/>
              </p:cNvSpPr>
              <p:nvPr/>
            </p:nvSpPr>
            <p:spPr bwMode="auto">
              <a:xfrm>
                <a:off x="6775632" y="4608817"/>
                <a:ext cx="29129" cy="29129"/>
              </a:xfrm>
              <a:custGeom>
                <a:avLst/>
                <a:gdLst>
                  <a:gd name="T0" fmla="*/ 0 w 38"/>
                  <a:gd name="T1" fmla="*/ 42 h 42"/>
                  <a:gd name="T2" fmla="*/ 38 w 38"/>
                  <a:gd name="T3" fmla="*/ 0 h 42"/>
                  <a:gd name="T4" fmla="*/ 38 w 38"/>
                  <a:gd name="T5" fmla="*/ 13 h 42"/>
                  <a:gd name="T6" fmla="*/ 12 w 38"/>
                  <a:gd name="T7" fmla="*/ 42 h 42"/>
                  <a:gd name="T8" fmla="*/ 0 w 38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2">
                    <a:moveTo>
                      <a:pt x="0" y="42"/>
                    </a:moveTo>
                    <a:lnTo>
                      <a:pt x="38" y="0"/>
                    </a:lnTo>
                    <a:lnTo>
                      <a:pt x="38" y="13"/>
                    </a:lnTo>
                    <a:lnTo>
                      <a:pt x="12" y="42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Freeform 629"/>
              <p:cNvSpPr>
                <a:spLocks/>
              </p:cNvSpPr>
              <p:nvPr/>
            </p:nvSpPr>
            <p:spPr bwMode="auto">
              <a:xfrm>
                <a:off x="6781458" y="4611731"/>
                <a:ext cx="23303" cy="26217"/>
              </a:xfrm>
              <a:custGeom>
                <a:avLst/>
                <a:gdLst>
                  <a:gd name="T0" fmla="*/ 0 w 33"/>
                  <a:gd name="T1" fmla="*/ 36 h 36"/>
                  <a:gd name="T2" fmla="*/ 33 w 33"/>
                  <a:gd name="T3" fmla="*/ 0 h 36"/>
                  <a:gd name="T4" fmla="*/ 33 w 33"/>
                  <a:gd name="T5" fmla="*/ 13 h 36"/>
                  <a:gd name="T6" fmla="*/ 12 w 33"/>
                  <a:gd name="T7" fmla="*/ 36 h 36"/>
                  <a:gd name="T8" fmla="*/ 0 w 33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6">
                    <a:moveTo>
                      <a:pt x="0" y="36"/>
                    </a:moveTo>
                    <a:lnTo>
                      <a:pt x="33" y="0"/>
                    </a:lnTo>
                    <a:lnTo>
                      <a:pt x="33" y="13"/>
                    </a:lnTo>
                    <a:lnTo>
                      <a:pt x="12" y="36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Freeform 630"/>
              <p:cNvSpPr>
                <a:spLocks/>
              </p:cNvSpPr>
              <p:nvPr/>
            </p:nvSpPr>
            <p:spPr bwMode="auto">
              <a:xfrm>
                <a:off x="6784370" y="4617557"/>
                <a:ext cx="20391" cy="20391"/>
              </a:xfrm>
              <a:custGeom>
                <a:avLst/>
                <a:gdLst>
                  <a:gd name="T0" fmla="*/ 0 w 26"/>
                  <a:gd name="T1" fmla="*/ 29 h 29"/>
                  <a:gd name="T2" fmla="*/ 26 w 26"/>
                  <a:gd name="T3" fmla="*/ 0 h 29"/>
                  <a:gd name="T4" fmla="*/ 26 w 26"/>
                  <a:gd name="T5" fmla="*/ 12 h 29"/>
                  <a:gd name="T6" fmla="*/ 11 w 26"/>
                  <a:gd name="T7" fmla="*/ 29 h 29"/>
                  <a:gd name="T8" fmla="*/ 0 w 26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9">
                    <a:moveTo>
                      <a:pt x="0" y="29"/>
                    </a:moveTo>
                    <a:lnTo>
                      <a:pt x="26" y="0"/>
                    </a:lnTo>
                    <a:lnTo>
                      <a:pt x="26" y="12"/>
                    </a:lnTo>
                    <a:lnTo>
                      <a:pt x="11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Freeform 631"/>
              <p:cNvSpPr>
                <a:spLocks/>
              </p:cNvSpPr>
              <p:nvPr/>
            </p:nvSpPr>
            <p:spPr bwMode="auto">
              <a:xfrm>
                <a:off x="6787284" y="4620469"/>
                <a:ext cx="17477" cy="17477"/>
              </a:xfrm>
              <a:custGeom>
                <a:avLst/>
                <a:gdLst>
                  <a:gd name="T0" fmla="*/ 0 w 21"/>
                  <a:gd name="T1" fmla="*/ 23 h 23"/>
                  <a:gd name="T2" fmla="*/ 21 w 21"/>
                  <a:gd name="T3" fmla="*/ 0 h 23"/>
                  <a:gd name="T4" fmla="*/ 21 w 21"/>
                  <a:gd name="T5" fmla="*/ 13 h 23"/>
                  <a:gd name="T6" fmla="*/ 12 w 21"/>
                  <a:gd name="T7" fmla="*/ 23 h 23"/>
                  <a:gd name="T8" fmla="*/ 0 w 21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3">
                    <a:moveTo>
                      <a:pt x="0" y="23"/>
                    </a:moveTo>
                    <a:lnTo>
                      <a:pt x="21" y="0"/>
                    </a:lnTo>
                    <a:lnTo>
                      <a:pt x="21" y="13"/>
                    </a:lnTo>
                    <a:lnTo>
                      <a:pt x="12" y="23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Freeform 632"/>
              <p:cNvSpPr>
                <a:spLocks/>
              </p:cNvSpPr>
              <p:nvPr/>
            </p:nvSpPr>
            <p:spPr bwMode="auto">
              <a:xfrm>
                <a:off x="6793110" y="4626295"/>
                <a:ext cx="11652" cy="11652"/>
              </a:xfrm>
              <a:custGeom>
                <a:avLst/>
                <a:gdLst>
                  <a:gd name="T0" fmla="*/ 0 w 15"/>
                  <a:gd name="T1" fmla="*/ 17 h 17"/>
                  <a:gd name="T2" fmla="*/ 15 w 15"/>
                  <a:gd name="T3" fmla="*/ 0 h 17"/>
                  <a:gd name="T4" fmla="*/ 15 w 15"/>
                  <a:gd name="T5" fmla="*/ 12 h 17"/>
                  <a:gd name="T6" fmla="*/ 12 w 15"/>
                  <a:gd name="T7" fmla="*/ 17 h 17"/>
                  <a:gd name="T8" fmla="*/ 0 w 15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7">
                    <a:moveTo>
                      <a:pt x="0" y="17"/>
                    </a:moveTo>
                    <a:lnTo>
                      <a:pt x="15" y="0"/>
                    </a:lnTo>
                    <a:lnTo>
                      <a:pt x="15" y="12"/>
                    </a:lnTo>
                    <a:lnTo>
                      <a:pt x="12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Freeform 633"/>
              <p:cNvSpPr>
                <a:spLocks/>
              </p:cNvSpPr>
              <p:nvPr/>
            </p:nvSpPr>
            <p:spPr bwMode="auto">
              <a:xfrm>
                <a:off x="6796022" y="4632121"/>
                <a:ext cx="8740" cy="5826"/>
              </a:xfrm>
              <a:custGeom>
                <a:avLst/>
                <a:gdLst>
                  <a:gd name="T0" fmla="*/ 0 w 9"/>
                  <a:gd name="T1" fmla="*/ 10 h 10"/>
                  <a:gd name="T2" fmla="*/ 9 w 9"/>
                  <a:gd name="T3" fmla="*/ 0 h 10"/>
                  <a:gd name="T4" fmla="*/ 9 w 9"/>
                  <a:gd name="T5" fmla="*/ 10 h 10"/>
                  <a:gd name="T6" fmla="*/ 0 w 9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0">
                    <a:moveTo>
                      <a:pt x="0" y="10"/>
                    </a:moveTo>
                    <a:lnTo>
                      <a:pt x="9" y="0"/>
                    </a:lnTo>
                    <a:lnTo>
                      <a:pt x="9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634"/>
              <p:cNvSpPr>
                <a:spLocks/>
              </p:cNvSpPr>
              <p:nvPr/>
            </p:nvSpPr>
            <p:spPr bwMode="auto">
              <a:xfrm>
                <a:off x="6801848" y="4635034"/>
                <a:ext cx="2914" cy="2914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3 w 3"/>
                  <a:gd name="T5" fmla="*/ 5 h 5"/>
                  <a:gd name="T6" fmla="*/ 0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3" y="0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9" name="Rectangle 635"/>
              <p:cNvSpPr>
                <a:spLocks noChangeArrowheads="1"/>
              </p:cNvSpPr>
              <p:nvPr/>
            </p:nvSpPr>
            <p:spPr bwMode="auto">
              <a:xfrm>
                <a:off x="6740678" y="4477738"/>
                <a:ext cx="64084" cy="160210"/>
              </a:xfrm>
              <a:prstGeom prst="rect">
                <a:avLst/>
              </a:prstGeom>
              <a:solidFill>
                <a:srgbClr val="FFFFFF"/>
              </a:solidFill>
              <a:ln w="4">
                <a:solidFill>
                  <a:srgbClr val="1F1A1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0" name="Freeform 636"/>
              <p:cNvSpPr>
                <a:spLocks/>
              </p:cNvSpPr>
              <p:nvPr/>
            </p:nvSpPr>
            <p:spPr bwMode="auto">
              <a:xfrm>
                <a:off x="6836802" y="4442783"/>
                <a:ext cx="8740" cy="8740"/>
              </a:xfrm>
              <a:custGeom>
                <a:avLst/>
                <a:gdLst>
                  <a:gd name="T0" fmla="*/ 9 w 9"/>
                  <a:gd name="T1" fmla="*/ 0 h 10"/>
                  <a:gd name="T2" fmla="*/ 0 w 9"/>
                  <a:gd name="T3" fmla="*/ 10 h 10"/>
                  <a:gd name="T4" fmla="*/ 0 w 9"/>
                  <a:gd name="T5" fmla="*/ 0 h 10"/>
                  <a:gd name="T6" fmla="*/ 9 w 9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0">
                    <a:moveTo>
                      <a:pt x="9" y="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1" name="Freeform 637"/>
              <p:cNvSpPr>
                <a:spLocks/>
              </p:cNvSpPr>
              <p:nvPr/>
            </p:nvSpPr>
            <p:spPr bwMode="auto">
              <a:xfrm>
                <a:off x="6836802" y="4442783"/>
                <a:ext cx="11652" cy="14565"/>
              </a:xfrm>
              <a:custGeom>
                <a:avLst/>
                <a:gdLst>
                  <a:gd name="T0" fmla="*/ 0 w 16"/>
                  <a:gd name="T1" fmla="*/ 3 h 17"/>
                  <a:gd name="T2" fmla="*/ 2 w 16"/>
                  <a:gd name="T3" fmla="*/ 0 h 17"/>
                  <a:gd name="T4" fmla="*/ 16 w 16"/>
                  <a:gd name="T5" fmla="*/ 0 h 17"/>
                  <a:gd name="T6" fmla="*/ 0 w 16"/>
                  <a:gd name="T7" fmla="*/ 17 h 17"/>
                  <a:gd name="T8" fmla="*/ 0 w 16"/>
                  <a:gd name="T9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0" y="3"/>
                    </a:moveTo>
                    <a:lnTo>
                      <a:pt x="2" y="0"/>
                    </a:lnTo>
                    <a:lnTo>
                      <a:pt x="16" y="0"/>
                    </a:lnTo>
                    <a:lnTo>
                      <a:pt x="0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2" name="Freeform 638"/>
              <p:cNvSpPr>
                <a:spLocks/>
              </p:cNvSpPr>
              <p:nvPr/>
            </p:nvSpPr>
            <p:spPr bwMode="auto">
              <a:xfrm>
                <a:off x="6836802" y="4442783"/>
                <a:ext cx="17477" cy="20391"/>
              </a:xfrm>
              <a:custGeom>
                <a:avLst/>
                <a:gdLst>
                  <a:gd name="T0" fmla="*/ 0 w 22"/>
                  <a:gd name="T1" fmla="*/ 10 h 25"/>
                  <a:gd name="T2" fmla="*/ 9 w 22"/>
                  <a:gd name="T3" fmla="*/ 0 h 25"/>
                  <a:gd name="T4" fmla="*/ 22 w 22"/>
                  <a:gd name="T5" fmla="*/ 0 h 25"/>
                  <a:gd name="T6" fmla="*/ 0 w 22"/>
                  <a:gd name="T7" fmla="*/ 25 h 25"/>
                  <a:gd name="T8" fmla="*/ 0 w 22"/>
                  <a:gd name="T9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5">
                    <a:moveTo>
                      <a:pt x="0" y="10"/>
                    </a:moveTo>
                    <a:lnTo>
                      <a:pt x="9" y="0"/>
                    </a:lnTo>
                    <a:lnTo>
                      <a:pt x="22" y="0"/>
                    </a:lnTo>
                    <a:lnTo>
                      <a:pt x="0" y="25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639"/>
              <p:cNvSpPr>
                <a:spLocks/>
              </p:cNvSpPr>
              <p:nvPr/>
            </p:nvSpPr>
            <p:spPr bwMode="auto">
              <a:xfrm>
                <a:off x="6836802" y="4442783"/>
                <a:ext cx="23303" cy="26217"/>
              </a:xfrm>
              <a:custGeom>
                <a:avLst/>
                <a:gdLst>
                  <a:gd name="T0" fmla="*/ 0 w 30"/>
                  <a:gd name="T1" fmla="*/ 17 h 32"/>
                  <a:gd name="T2" fmla="*/ 16 w 30"/>
                  <a:gd name="T3" fmla="*/ 0 h 32"/>
                  <a:gd name="T4" fmla="*/ 30 w 30"/>
                  <a:gd name="T5" fmla="*/ 0 h 32"/>
                  <a:gd name="T6" fmla="*/ 0 w 30"/>
                  <a:gd name="T7" fmla="*/ 32 h 32"/>
                  <a:gd name="T8" fmla="*/ 0 w 30"/>
                  <a:gd name="T9" fmla="*/ 1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2">
                    <a:moveTo>
                      <a:pt x="0" y="17"/>
                    </a:moveTo>
                    <a:lnTo>
                      <a:pt x="16" y="0"/>
                    </a:lnTo>
                    <a:lnTo>
                      <a:pt x="30" y="0"/>
                    </a:lnTo>
                    <a:lnTo>
                      <a:pt x="0" y="32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640"/>
              <p:cNvSpPr>
                <a:spLocks/>
              </p:cNvSpPr>
              <p:nvPr/>
            </p:nvSpPr>
            <p:spPr bwMode="auto">
              <a:xfrm>
                <a:off x="6836802" y="4442783"/>
                <a:ext cx="29129" cy="29129"/>
              </a:xfrm>
              <a:custGeom>
                <a:avLst/>
                <a:gdLst>
                  <a:gd name="T0" fmla="*/ 0 w 36"/>
                  <a:gd name="T1" fmla="*/ 25 h 40"/>
                  <a:gd name="T2" fmla="*/ 22 w 36"/>
                  <a:gd name="T3" fmla="*/ 0 h 40"/>
                  <a:gd name="T4" fmla="*/ 36 w 36"/>
                  <a:gd name="T5" fmla="*/ 0 h 40"/>
                  <a:gd name="T6" fmla="*/ 0 w 36"/>
                  <a:gd name="T7" fmla="*/ 40 h 40"/>
                  <a:gd name="T8" fmla="*/ 0 w 36"/>
                  <a:gd name="T9" fmla="*/ 2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40">
                    <a:moveTo>
                      <a:pt x="0" y="25"/>
                    </a:moveTo>
                    <a:lnTo>
                      <a:pt x="22" y="0"/>
                    </a:lnTo>
                    <a:lnTo>
                      <a:pt x="36" y="0"/>
                    </a:lnTo>
                    <a:lnTo>
                      <a:pt x="0" y="40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641"/>
              <p:cNvSpPr>
                <a:spLocks/>
              </p:cNvSpPr>
              <p:nvPr/>
            </p:nvSpPr>
            <p:spPr bwMode="auto">
              <a:xfrm>
                <a:off x="6836802" y="4442783"/>
                <a:ext cx="32043" cy="34955"/>
              </a:xfrm>
              <a:custGeom>
                <a:avLst/>
                <a:gdLst>
                  <a:gd name="T0" fmla="*/ 0 w 43"/>
                  <a:gd name="T1" fmla="*/ 32 h 47"/>
                  <a:gd name="T2" fmla="*/ 30 w 43"/>
                  <a:gd name="T3" fmla="*/ 0 h 47"/>
                  <a:gd name="T4" fmla="*/ 43 w 43"/>
                  <a:gd name="T5" fmla="*/ 0 h 47"/>
                  <a:gd name="T6" fmla="*/ 0 w 43"/>
                  <a:gd name="T7" fmla="*/ 47 h 47"/>
                  <a:gd name="T8" fmla="*/ 0 w 43"/>
                  <a:gd name="T9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7">
                    <a:moveTo>
                      <a:pt x="0" y="32"/>
                    </a:moveTo>
                    <a:lnTo>
                      <a:pt x="30" y="0"/>
                    </a:lnTo>
                    <a:lnTo>
                      <a:pt x="43" y="0"/>
                    </a:lnTo>
                    <a:lnTo>
                      <a:pt x="0" y="47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642"/>
              <p:cNvSpPr>
                <a:spLocks/>
              </p:cNvSpPr>
              <p:nvPr/>
            </p:nvSpPr>
            <p:spPr bwMode="auto">
              <a:xfrm>
                <a:off x="6836802" y="4442783"/>
                <a:ext cx="37869" cy="40780"/>
              </a:xfrm>
              <a:custGeom>
                <a:avLst/>
                <a:gdLst>
                  <a:gd name="T0" fmla="*/ 0 w 50"/>
                  <a:gd name="T1" fmla="*/ 40 h 55"/>
                  <a:gd name="T2" fmla="*/ 36 w 50"/>
                  <a:gd name="T3" fmla="*/ 0 h 55"/>
                  <a:gd name="T4" fmla="*/ 50 w 50"/>
                  <a:gd name="T5" fmla="*/ 0 h 55"/>
                  <a:gd name="T6" fmla="*/ 0 w 50"/>
                  <a:gd name="T7" fmla="*/ 55 h 55"/>
                  <a:gd name="T8" fmla="*/ 0 w 50"/>
                  <a:gd name="T9" fmla="*/ 4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5">
                    <a:moveTo>
                      <a:pt x="0" y="40"/>
                    </a:moveTo>
                    <a:lnTo>
                      <a:pt x="36" y="0"/>
                    </a:lnTo>
                    <a:lnTo>
                      <a:pt x="50" y="0"/>
                    </a:lnTo>
                    <a:lnTo>
                      <a:pt x="0" y="55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643"/>
              <p:cNvSpPr>
                <a:spLocks/>
              </p:cNvSpPr>
              <p:nvPr/>
            </p:nvSpPr>
            <p:spPr bwMode="auto">
              <a:xfrm>
                <a:off x="6836802" y="4442783"/>
                <a:ext cx="43694" cy="46606"/>
              </a:xfrm>
              <a:custGeom>
                <a:avLst/>
                <a:gdLst>
                  <a:gd name="T0" fmla="*/ 0 w 57"/>
                  <a:gd name="T1" fmla="*/ 47 h 62"/>
                  <a:gd name="T2" fmla="*/ 43 w 57"/>
                  <a:gd name="T3" fmla="*/ 0 h 62"/>
                  <a:gd name="T4" fmla="*/ 57 w 57"/>
                  <a:gd name="T5" fmla="*/ 0 h 62"/>
                  <a:gd name="T6" fmla="*/ 0 w 57"/>
                  <a:gd name="T7" fmla="*/ 62 h 62"/>
                  <a:gd name="T8" fmla="*/ 0 w 57"/>
                  <a:gd name="T9" fmla="*/ 4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62">
                    <a:moveTo>
                      <a:pt x="0" y="47"/>
                    </a:moveTo>
                    <a:lnTo>
                      <a:pt x="43" y="0"/>
                    </a:lnTo>
                    <a:lnTo>
                      <a:pt x="57" y="0"/>
                    </a:lnTo>
                    <a:lnTo>
                      <a:pt x="0" y="62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644"/>
              <p:cNvSpPr>
                <a:spLocks/>
              </p:cNvSpPr>
              <p:nvPr/>
            </p:nvSpPr>
            <p:spPr bwMode="auto">
              <a:xfrm>
                <a:off x="6836802" y="4442783"/>
                <a:ext cx="46606" cy="52432"/>
              </a:xfrm>
              <a:custGeom>
                <a:avLst/>
                <a:gdLst>
                  <a:gd name="T0" fmla="*/ 0 w 63"/>
                  <a:gd name="T1" fmla="*/ 55 h 69"/>
                  <a:gd name="T2" fmla="*/ 50 w 63"/>
                  <a:gd name="T3" fmla="*/ 0 h 69"/>
                  <a:gd name="T4" fmla="*/ 63 w 63"/>
                  <a:gd name="T5" fmla="*/ 0 h 69"/>
                  <a:gd name="T6" fmla="*/ 0 w 63"/>
                  <a:gd name="T7" fmla="*/ 69 h 69"/>
                  <a:gd name="T8" fmla="*/ 0 w 63"/>
                  <a:gd name="T9" fmla="*/ 5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69">
                    <a:moveTo>
                      <a:pt x="0" y="55"/>
                    </a:moveTo>
                    <a:lnTo>
                      <a:pt x="50" y="0"/>
                    </a:lnTo>
                    <a:lnTo>
                      <a:pt x="63" y="0"/>
                    </a:lnTo>
                    <a:lnTo>
                      <a:pt x="0" y="69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645"/>
              <p:cNvSpPr>
                <a:spLocks/>
              </p:cNvSpPr>
              <p:nvPr/>
            </p:nvSpPr>
            <p:spPr bwMode="auto">
              <a:xfrm>
                <a:off x="6836802" y="4442783"/>
                <a:ext cx="52432" cy="58258"/>
              </a:xfrm>
              <a:custGeom>
                <a:avLst/>
                <a:gdLst>
                  <a:gd name="T0" fmla="*/ 0 w 71"/>
                  <a:gd name="T1" fmla="*/ 62 h 76"/>
                  <a:gd name="T2" fmla="*/ 57 w 71"/>
                  <a:gd name="T3" fmla="*/ 0 h 76"/>
                  <a:gd name="T4" fmla="*/ 71 w 71"/>
                  <a:gd name="T5" fmla="*/ 0 h 76"/>
                  <a:gd name="T6" fmla="*/ 0 w 71"/>
                  <a:gd name="T7" fmla="*/ 76 h 76"/>
                  <a:gd name="T8" fmla="*/ 0 w 71"/>
                  <a:gd name="T9" fmla="*/ 6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76">
                    <a:moveTo>
                      <a:pt x="0" y="62"/>
                    </a:moveTo>
                    <a:lnTo>
                      <a:pt x="57" y="0"/>
                    </a:lnTo>
                    <a:lnTo>
                      <a:pt x="71" y="0"/>
                    </a:lnTo>
                    <a:lnTo>
                      <a:pt x="0" y="76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646"/>
              <p:cNvSpPr>
                <a:spLocks/>
              </p:cNvSpPr>
              <p:nvPr/>
            </p:nvSpPr>
            <p:spPr bwMode="auto">
              <a:xfrm>
                <a:off x="6836802" y="4442783"/>
                <a:ext cx="58258" cy="61172"/>
              </a:xfrm>
              <a:custGeom>
                <a:avLst/>
                <a:gdLst>
                  <a:gd name="T0" fmla="*/ 0 w 77"/>
                  <a:gd name="T1" fmla="*/ 69 h 84"/>
                  <a:gd name="T2" fmla="*/ 63 w 77"/>
                  <a:gd name="T3" fmla="*/ 0 h 84"/>
                  <a:gd name="T4" fmla="*/ 77 w 77"/>
                  <a:gd name="T5" fmla="*/ 0 h 84"/>
                  <a:gd name="T6" fmla="*/ 0 w 77"/>
                  <a:gd name="T7" fmla="*/ 84 h 84"/>
                  <a:gd name="T8" fmla="*/ 0 w 77"/>
                  <a:gd name="T9" fmla="*/ 6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84">
                    <a:moveTo>
                      <a:pt x="0" y="69"/>
                    </a:moveTo>
                    <a:lnTo>
                      <a:pt x="63" y="0"/>
                    </a:lnTo>
                    <a:lnTo>
                      <a:pt x="77" y="0"/>
                    </a:lnTo>
                    <a:lnTo>
                      <a:pt x="0" y="84"/>
                    </a:lnTo>
                    <a:lnTo>
                      <a:pt x="0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647"/>
              <p:cNvSpPr>
                <a:spLocks/>
              </p:cNvSpPr>
              <p:nvPr/>
            </p:nvSpPr>
            <p:spPr bwMode="auto">
              <a:xfrm>
                <a:off x="6836802" y="4442783"/>
                <a:ext cx="61172" cy="66997"/>
              </a:xfrm>
              <a:custGeom>
                <a:avLst/>
                <a:gdLst>
                  <a:gd name="T0" fmla="*/ 0 w 84"/>
                  <a:gd name="T1" fmla="*/ 76 h 91"/>
                  <a:gd name="T2" fmla="*/ 71 w 84"/>
                  <a:gd name="T3" fmla="*/ 0 h 91"/>
                  <a:gd name="T4" fmla="*/ 84 w 84"/>
                  <a:gd name="T5" fmla="*/ 0 h 91"/>
                  <a:gd name="T6" fmla="*/ 0 w 84"/>
                  <a:gd name="T7" fmla="*/ 91 h 91"/>
                  <a:gd name="T8" fmla="*/ 0 w 84"/>
                  <a:gd name="T9" fmla="*/ 76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91">
                    <a:moveTo>
                      <a:pt x="0" y="76"/>
                    </a:moveTo>
                    <a:lnTo>
                      <a:pt x="71" y="0"/>
                    </a:lnTo>
                    <a:lnTo>
                      <a:pt x="84" y="0"/>
                    </a:lnTo>
                    <a:lnTo>
                      <a:pt x="0" y="91"/>
                    </a:lnTo>
                    <a:lnTo>
                      <a:pt x="0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648"/>
              <p:cNvSpPr>
                <a:spLocks/>
              </p:cNvSpPr>
              <p:nvPr/>
            </p:nvSpPr>
            <p:spPr bwMode="auto">
              <a:xfrm>
                <a:off x="6836802" y="4442783"/>
                <a:ext cx="64084" cy="72823"/>
              </a:xfrm>
              <a:custGeom>
                <a:avLst/>
                <a:gdLst>
                  <a:gd name="T0" fmla="*/ 0 w 87"/>
                  <a:gd name="T1" fmla="*/ 84 h 99"/>
                  <a:gd name="T2" fmla="*/ 77 w 87"/>
                  <a:gd name="T3" fmla="*/ 0 h 99"/>
                  <a:gd name="T4" fmla="*/ 87 w 87"/>
                  <a:gd name="T5" fmla="*/ 0 h 99"/>
                  <a:gd name="T6" fmla="*/ 87 w 87"/>
                  <a:gd name="T7" fmla="*/ 0 h 99"/>
                  <a:gd name="T8" fmla="*/ 87 w 87"/>
                  <a:gd name="T9" fmla="*/ 4 h 99"/>
                  <a:gd name="T10" fmla="*/ 0 w 87"/>
                  <a:gd name="T11" fmla="*/ 99 h 99"/>
                  <a:gd name="T12" fmla="*/ 0 w 87"/>
                  <a:gd name="T13" fmla="*/ 8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9">
                    <a:moveTo>
                      <a:pt x="0" y="84"/>
                    </a:moveTo>
                    <a:lnTo>
                      <a:pt x="77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4"/>
                    </a:lnTo>
                    <a:lnTo>
                      <a:pt x="0" y="99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649"/>
              <p:cNvSpPr>
                <a:spLocks/>
              </p:cNvSpPr>
              <p:nvPr/>
            </p:nvSpPr>
            <p:spPr bwMode="auto">
              <a:xfrm>
                <a:off x="6836802" y="4442783"/>
                <a:ext cx="64084" cy="78649"/>
              </a:xfrm>
              <a:custGeom>
                <a:avLst/>
                <a:gdLst>
                  <a:gd name="T0" fmla="*/ 0 w 87"/>
                  <a:gd name="T1" fmla="*/ 91 h 106"/>
                  <a:gd name="T2" fmla="*/ 84 w 87"/>
                  <a:gd name="T3" fmla="*/ 0 h 106"/>
                  <a:gd name="T4" fmla="*/ 87 w 87"/>
                  <a:gd name="T5" fmla="*/ 0 h 106"/>
                  <a:gd name="T6" fmla="*/ 87 w 87"/>
                  <a:gd name="T7" fmla="*/ 0 h 106"/>
                  <a:gd name="T8" fmla="*/ 87 w 87"/>
                  <a:gd name="T9" fmla="*/ 12 h 106"/>
                  <a:gd name="T10" fmla="*/ 0 w 87"/>
                  <a:gd name="T11" fmla="*/ 106 h 106"/>
                  <a:gd name="T12" fmla="*/ 0 w 87"/>
                  <a:gd name="T13" fmla="*/ 9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6">
                    <a:moveTo>
                      <a:pt x="0" y="91"/>
                    </a:moveTo>
                    <a:lnTo>
                      <a:pt x="84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12"/>
                    </a:lnTo>
                    <a:lnTo>
                      <a:pt x="0" y="106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650"/>
              <p:cNvSpPr>
                <a:spLocks/>
              </p:cNvSpPr>
              <p:nvPr/>
            </p:nvSpPr>
            <p:spPr bwMode="auto">
              <a:xfrm>
                <a:off x="6836802" y="4448609"/>
                <a:ext cx="64084" cy="78649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651"/>
              <p:cNvSpPr>
                <a:spLocks/>
              </p:cNvSpPr>
              <p:nvPr/>
            </p:nvSpPr>
            <p:spPr bwMode="auto">
              <a:xfrm>
                <a:off x="6836802" y="4451521"/>
                <a:ext cx="64084" cy="81561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652"/>
              <p:cNvSpPr>
                <a:spLocks/>
              </p:cNvSpPr>
              <p:nvPr/>
            </p:nvSpPr>
            <p:spPr bwMode="auto">
              <a:xfrm>
                <a:off x="6836802" y="4457347"/>
                <a:ext cx="64084" cy="81561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653"/>
              <p:cNvSpPr>
                <a:spLocks/>
              </p:cNvSpPr>
              <p:nvPr/>
            </p:nvSpPr>
            <p:spPr bwMode="auto">
              <a:xfrm>
                <a:off x="6836802" y="4463173"/>
                <a:ext cx="64084" cy="78649"/>
              </a:xfrm>
              <a:custGeom>
                <a:avLst/>
                <a:gdLst>
                  <a:gd name="T0" fmla="*/ 0 w 87"/>
                  <a:gd name="T1" fmla="*/ 94 h 108"/>
                  <a:gd name="T2" fmla="*/ 87 w 87"/>
                  <a:gd name="T3" fmla="*/ 0 h 108"/>
                  <a:gd name="T4" fmla="*/ 87 w 87"/>
                  <a:gd name="T5" fmla="*/ 15 h 108"/>
                  <a:gd name="T6" fmla="*/ 0 w 87"/>
                  <a:gd name="T7" fmla="*/ 108 h 108"/>
                  <a:gd name="T8" fmla="*/ 0 w 87"/>
                  <a:gd name="T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8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654"/>
              <p:cNvSpPr>
                <a:spLocks/>
              </p:cNvSpPr>
              <p:nvPr/>
            </p:nvSpPr>
            <p:spPr bwMode="auto">
              <a:xfrm>
                <a:off x="6836802" y="4468999"/>
                <a:ext cx="64084" cy="78649"/>
              </a:xfrm>
              <a:custGeom>
                <a:avLst/>
                <a:gdLst>
                  <a:gd name="T0" fmla="*/ 0 w 87"/>
                  <a:gd name="T1" fmla="*/ 95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655"/>
              <p:cNvSpPr>
                <a:spLocks/>
              </p:cNvSpPr>
              <p:nvPr/>
            </p:nvSpPr>
            <p:spPr bwMode="auto">
              <a:xfrm>
                <a:off x="6836802" y="4474824"/>
                <a:ext cx="64084" cy="78649"/>
              </a:xfrm>
              <a:custGeom>
                <a:avLst/>
                <a:gdLst>
                  <a:gd name="T0" fmla="*/ 0 w 87"/>
                  <a:gd name="T1" fmla="*/ 93 h 108"/>
                  <a:gd name="T2" fmla="*/ 87 w 87"/>
                  <a:gd name="T3" fmla="*/ 0 h 108"/>
                  <a:gd name="T4" fmla="*/ 87 w 87"/>
                  <a:gd name="T5" fmla="*/ 14 h 108"/>
                  <a:gd name="T6" fmla="*/ 0 w 87"/>
                  <a:gd name="T7" fmla="*/ 108 h 108"/>
                  <a:gd name="T8" fmla="*/ 0 w 87"/>
                  <a:gd name="T9" fmla="*/ 9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3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0" y="108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656"/>
              <p:cNvSpPr>
                <a:spLocks/>
              </p:cNvSpPr>
              <p:nvPr/>
            </p:nvSpPr>
            <p:spPr bwMode="auto">
              <a:xfrm>
                <a:off x="6836802" y="4480650"/>
                <a:ext cx="64084" cy="78649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4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657"/>
              <p:cNvSpPr>
                <a:spLocks/>
              </p:cNvSpPr>
              <p:nvPr/>
            </p:nvSpPr>
            <p:spPr bwMode="auto">
              <a:xfrm>
                <a:off x="6836802" y="4483564"/>
                <a:ext cx="64084" cy="81561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658"/>
              <p:cNvSpPr>
                <a:spLocks/>
              </p:cNvSpPr>
              <p:nvPr/>
            </p:nvSpPr>
            <p:spPr bwMode="auto">
              <a:xfrm>
                <a:off x="6836802" y="4489390"/>
                <a:ext cx="64084" cy="81561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659"/>
              <p:cNvSpPr>
                <a:spLocks/>
              </p:cNvSpPr>
              <p:nvPr/>
            </p:nvSpPr>
            <p:spPr bwMode="auto">
              <a:xfrm>
                <a:off x="6836802" y="4495216"/>
                <a:ext cx="64084" cy="81561"/>
              </a:xfrm>
              <a:custGeom>
                <a:avLst/>
                <a:gdLst>
                  <a:gd name="T0" fmla="*/ 0 w 87"/>
                  <a:gd name="T1" fmla="*/ 94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660"/>
              <p:cNvSpPr>
                <a:spLocks/>
              </p:cNvSpPr>
              <p:nvPr/>
            </p:nvSpPr>
            <p:spPr bwMode="auto">
              <a:xfrm>
                <a:off x="6836802" y="4501041"/>
                <a:ext cx="64084" cy="81561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661"/>
              <p:cNvSpPr>
                <a:spLocks/>
              </p:cNvSpPr>
              <p:nvPr/>
            </p:nvSpPr>
            <p:spPr bwMode="auto">
              <a:xfrm>
                <a:off x="6836802" y="4506867"/>
                <a:ext cx="64084" cy="78649"/>
              </a:xfrm>
              <a:custGeom>
                <a:avLst/>
                <a:gdLst>
                  <a:gd name="T0" fmla="*/ 0 w 87"/>
                  <a:gd name="T1" fmla="*/ 95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662"/>
              <p:cNvSpPr>
                <a:spLocks/>
              </p:cNvSpPr>
              <p:nvPr/>
            </p:nvSpPr>
            <p:spPr bwMode="auto">
              <a:xfrm>
                <a:off x="6836802" y="4512693"/>
                <a:ext cx="64084" cy="78649"/>
              </a:xfrm>
              <a:custGeom>
                <a:avLst/>
                <a:gdLst>
                  <a:gd name="T0" fmla="*/ 0 w 87"/>
                  <a:gd name="T1" fmla="*/ 95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663"/>
              <p:cNvSpPr>
                <a:spLocks/>
              </p:cNvSpPr>
              <p:nvPr/>
            </p:nvSpPr>
            <p:spPr bwMode="auto">
              <a:xfrm>
                <a:off x="6836802" y="4518519"/>
                <a:ext cx="64084" cy="78649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4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664"/>
              <p:cNvSpPr>
                <a:spLocks/>
              </p:cNvSpPr>
              <p:nvPr/>
            </p:nvSpPr>
            <p:spPr bwMode="auto">
              <a:xfrm>
                <a:off x="6836802" y="4524344"/>
                <a:ext cx="64084" cy="78649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4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665"/>
              <p:cNvSpPr>
                <a:spLocks/>
              </p:cNvSpPr>
              <p:nvPr/>
            </p:nvSpPr>
            <p:spPr bwMode="auto">
              <a:xfrm>
                <a:off x="6836802" y="4527256"/>
                <a:ext cx="64084" cy="81561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666"/>
              <p:cNvSpPr>
                <a:spLocks/>
              </p:cNvSpPr>
              <p:nvPr/>
            </p:nvSpPr>
            <p:spPr bwMode="auto">
              <a:xfrm>
                <a:off x="6836802" y="4533082"/>
                <a:ext cx="64084" cy="81561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6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6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667"/>
              <p:cNvSpPr>
                <a:spLocks/>
              </p:cNvSpPr>
              <p:nvPr/>
            </p:nvSpPr>
            <p:spPr bwMode="auto">
              <a:xfrm>
                <a:off x="6836802" y="4538908"/>
                <a:ext cx="64084" cy="78649"/>
              </a:xfrm>
              <a:custGeom>
                <a:avLst/>
                <a:gdLst>
                  <a:gd name="T0" fmla="*/ 0 w 87"/>
                  <a:gd name="T1" fmla="*/ 95 h 110"/>
                  <a:gd name="T2" fmla="*/ 87 w 87"/>
                  <a:gd name="T3" fmla="*/ 0 h 110"/>
                  <a:gd name="T4" fmla="*/ 87 w 87"/>
                  <a:gd name="T5" fmla="*/ 15 h 110"/>
                  <a:gd name="T6" fmla="*/ 0 w 87"/>
                  <a:gd name="T7" fmla="*/ 110 h 110"/>
                  <a:gd name="T8" fmla="*/ 0 w 87"/>
                  <a:gd name="T9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10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668"/>
              <p:cNvSpPr>
                <a:spLocks/>
              </p:cNvSpPr>
              <p:nvPr/>
            </p:nvSpPr>
            <p:spPr bwMode="auto">
              <a:xfrm>
                <a:off x="6836802" y="4544734"/>
                <a:ext cx="64084" cy="78649"/>
              </a:xfrm>
              <a:custGeom>
                <a:avLst/>
                <a:gdLst>
                  <a:gd name="T0" fmla="*/ 0 w 87"/>
                  <a:gd name="T1" fmla="*/ 94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669"/>
              <p:cNvSpPr>
                <a:spLocks/>
              </p:cNvSpPr>
              <p:nvPr/>
            </p:nvSpPr>
            <p:spPr bwMode="auto">
              <a:xfrm>
                <a:off x="6836802" y="4550560"/>
                <a:ext cx="64084" cy="78649"/>
              </a:xfrm>
              <a:custGeom>
                <a:avLst/>
                <a:gdLst>
                  <a:gd name="T0" fmla="*/ 0 w 87"/>
                  <a:gd name="T1" fmla="*/ 95 h 109"/>
                  <a:gd name="T2" fmla="*/ 87 w 87"/>
                  <a:gd name="T3" fmla="*/ 0 h 109"/>
                  <a:gd name="T4" fmla="*/ 87 w 87"/>
                  <a:gd name="T5" fmla="*/ 15 h 109"/>
                  <a:gd name="T6" fmla="*/ 0 w 87"/>
                  <a:gd name="T7" fmla="*/ 109 h 109"/>
                  <a:gd name="T8" fmla="*/ 0 w 87"/>
                  <a:gd name="T9" fmla="*/ 9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9">
                    <a:moveTo>
                      <a:pt x="0" y="95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9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670"/>
              <p:cNvSpPr>
                <a:spLocks/>
              </p:cNvSpPr>
              <p:nvPr/>
            </p:nvSpPr>
            <p:spPr bwMode="auto">
              <a:xfrm>
                <a:off x="6836802" y="4556385"/>
                <a:ext cx="64084" cy="78649"/>
              </a:xfrm>
              <a:custGeom>
                <a:avLst/>
                <a:gdLst>
                  <a:gd name="T0" fmla="*/ 0 w 87"/>
                  <a:gd name="T1" fmla="*/ 94 h 108"/>
                  <a:gd name="T2" fmla="*/ 87 w 87"/>
                  <a:gd name="T3" fmla="*/ 0 h 108"/>
                  <a:gd name="T4" fmla="*/ 87 w 87"/>
                  <a:gd name="T5" fmla="*/ 15 h 108"/>
                  <a:gd name="T6" fmla="*/ 0 w 87"/>
                  <a:gd name="T7" fmla="*/ 108 h 108"/>
                  <a:gd name="T8" fmla="*/ 0 w 87"/>
                  <a:gd name="T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08">
                    <a:moveTo>
                      <a:pt x="0" y="94"/>
                    </a:moveTo>
                    <a:lnTo>
                      <a:pt x="87" y="0"/>
                    </a:lnTo>
                    <a:lnTo>
                      <a:pt x="87" y="15"/>
                    </a:lnTo>
                    <a:lnTo>
                      <a:pt x="0" y="108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671"/>
              <p:cNvSpPr>
                <a:spLocks/>
              </p:cNvSpPr>
              <p:nvPr/>
            </p:nvSpPr>
            <p:spPr bwMode="auto">
              <a:xfrm>
                <a:off x="6836802" y="4562211"/>
                <a:ext cx="64084" cy="75735"/>
              </a:xfrm>
              <a:custGeom>
                <a:avLst/>
                <a:gdLst>
                  <a:gd name="T0" fmla="*/ 0 w 87"/>
                  <a:gd name="T1" fmla="*/ 94 h 107"/>
                  <a:gd name="T2" fmla="*/ 87 w 87"/>
                  <a:gd name="T3" fmla="*/ 0 h 107"/>
                  <a:gd name="T4" fmla="*/ 87 w 87"/>
                  <a:gd name="T5" fmla="*/ 14 h 107"/>
                  <a:gd name="T6" fmla="*/ 2 w 87"/>
                  <a:gd name="T7" fmla="*/ 107 h 107"/>
                  <a:gd name="T8" fmla="*/ 0 w 87"/>
                  <a:gd name="T9" fmla="*/ 107 h 107"/>
                  <a:gd name="T10" fmla="*/ 0 w 87"/>
                  <a:gd name="T11" fmla="*/ 94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07">
                    <a:moveTo>
                      <a:pt x="0" y="94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2" y="107"/>
                    </a:lnTo>
                    <a:lnTo>
                      <a:pt x="0" y="107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672"/>
              <p:cNvSpPr>
                <a:spLocks/>
              </p:cNvSpPr>
              <p:nvPr/>
            </p:nvSpPr>
            <p:spPr bwMode="auto">
              <a:xfrm>
                <a:off x="6836802" y="4565125"/>
                <a:ext cx="64084" cy="72823"/>
              </a:xfrm>
              <a:custGeom>
                <a:avLst/>
                <a:gdLst>
                  <a:gd name="T0" fmla="*/ 0 w 87"/>
                  <a:gd name="T1" fmla="*/ 93 h 99"/>
                  <a:gd name="T2" fmla="*/ 87 w 87"/>
                  <a:gd name="T3" fmla="*/ 0 h 99"/>
                  <a:gd name="T4" fmla="*/ 87 w 87"/>
                  <a:gd name="T5" fmla="*/ 14 h 99"/>
                  <a:gd name="T6" fmla="*/ 8 w 87"/>
                  <a:gd name="T7" fmla="*/ 99 h 99"/>
                  <a:gd name="T8" fmla="*/ 0 w 87"/>
                  <a:gd name="T9" fmla="*/ 99 h 99"/>
                  <a:gd name="T10" fmla="*/ 0 w 87"/>
                  <a:gd name="T11" fmla="*/ 9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99">
                    <a:moveTo>
                      <a:pt x="0" y="93"/>
                    </a:moveTo>
                    <a:lnTo>
                      <a:pt x="87" y="0"/>
                    </a:lnTo>
                    <a:lnTo>
                      <a:pt x="87" y="14"/>
                    </a:lnTo>
                    <a:lnTo>
                      <a:pt x="8" y="99"/>
                    </a:lnTo>
                    <a:lnTo>
                      <a:pt x="0" y="99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673"/>
              <p:cNvSpPr>
                <a:spLocks/>
              </p:cNvSpPr>
              <p:nvPr/>
            </p:nvSpPr>
            <p:spPr bwMode="auto">
              <a:xfrm>
                <a:off x="6839716" y="4570951"/>
                <a:ext cx="61172" cy="66997"/>
              </a:xfrm>
              <a:custGeom>
                <a:avLst/>
                <a:gdLst>
                  <a:gd name="T0" fmla="*/ 0 w 85"/>
                  <a:gd name="T1" fmla="*/ 93 h 93"/>
                  <a:gd name="T2" fmla="*/ 85 w 85"/>
                  <a:gd name="T3" fmla="*/ 0 h 93"/>
                  <a:gd name="T4" fmla="*/ 85 w 85"/>
                  <a:gd name="T5" fmla="*/ 15 h 93"/>
                  <a:gd name="T6" fmla="*/ 14 w 85"/>
                  <a:gd name="T7" fmla="*/ 93 h 93"/>
                  <a:gd name="T8" fmla="*/ 0 w 85"/>
                  <a:gd name="T9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93">
                    <a:moveTo>
                      <a:pt x="0" y="93"/>
                    </a:moveTo>
                    <a:lnTo>
                      <a:pt x="85" y="0"/>
                    </a:lnTo>
                    <a:lnTo>
                      <a:pt x="85" y="15"/>
                    </a:lnTo>
                    <a:lnTo>
                      <a:pt x="14" y="93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674"/>
              <p:cNvSpPr>
                <a:spLocks/>
              </p:cNvSpPr>
              <p:nvPr/>
            </p:nvSpPr>
            <p:spPr bwMode="auto">
              <a:xfrm>
                <a:off x="6845542" y="4576777"/>
                <a:ext cx="55346" cy="61172"/>
              </a:xfrm>
              <a:custGeom>
                <a:avLst/>
                <a:gdLst>
                  <a:gd name="T0" fmla="*/ 0 w 79"/>
                  <a:gd name="T1" fmla="*/ 85 h 85"/>
                  <a:gd name="T2" fmla="*/ 79 w 79"/>
                  <a:gd name="T3" fmla="*/ 0 h 85"/>
                  <a:gd name="T4" fmla="*/ 79 w 79"/>
                  <a:gd name="T5" fmla="*/ 15 h 85"/>
                  <a:gd name="T6" fmla="*/ 14 w 79"/>
                  <a:gd name="T7" fmla="*/ 85 h 85"/>
                  <a:gd name="T8" fmla="*/ 0 w 79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85">
                    <a:moveTo>
                      <a:pt x="0" y="85"/>
                    </a:moveTo>
                    <a:lnTo>
                      <a:pt x="79" y="0"/>
                    </a:lnTo>
                    <a:lnTo>
                      <a:pt x="79" y="15"/>
                    </a:lnTo>
                    <a:lnTo>
                      <a:pt x="14" y="85"/>
                    </a:lnTo>
                    <a:lnTo>
                      <a:pt x="0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675"/>
              <p:cNvSpPr>
                <a:spLocks/>
              </p:cNvSpPr>
              <p:nvPr/>
            </p:nvSpPr>
            <p:spPr bwMode="auto">
              <a:xfrm>
                <a:off x="6848454" y="4582602"/>
                <a:ext cx="52432" cy="55346"/>
              </a:xfrm>
              <a:custGeom>
                <a:avLst/>
                <a:gdLst>
                  <a:gd name="T0" fmla="*/ 0 w 71"/>
                  <a:gd name="T1" fmla="*/ 78 h 78"/>
                  <a:gd name="T2" fmla="*/ 71 w 71"/>
                  <a:gd name="T3" fmla="*/ 0 h 78"/>
                  <a:gd name="T4" fmla="*/ 71 w 71"/>
                  <a:gd name="T5" fmla="*/ 15 h 78"/>
                  <a:gd name="T6" fmla="*/ 13 w 71"/>
                  <a:gd name="T7" fmla="*/ 78 h 78"/>
                  <a:gd name="T8" fmla="*/ 0 w 71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78">
                    <a:moveTo>
                      <a:pt x="0" y="78"/>
                    </a:moveTo>
                    <a:lnTo>
                      <a:pt x="71" y="0"/>
                    </a:lnTo>
                    <a:lnTo>
                      <a:pt x="71" y="15"/>
                    </a:lnTo>
                    <a:lnTo>
                      <a:pt x="13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676"/>
              <p:cNvSpPr>
                <a:spLocks/>
              </p:cNvSpPr>
              <p:nvPr/>
            </p:nvSpPr>
            <p:spPr bwMode="auto">
              <a:xfrm>
                <a:off x="6854280" y="4588428"/>
                <a:ext cx="46606" cy="49520"/>
              </a:xfrm>
              <a:custGeom>
                <a:avLst/>
                <a:gdLst>
                  <a:gd name="T0" fmla="*/ 0 w 65"/>
                  <a:gd name="T1" fmla="*/ 70 h 70"/>
                  <a:gd name="T2" fmla="*/ 65 w 65"/>
                  <a:gd name="T3" fmla="*/ 0 h 70"/>
                  <a:gd name="T4" fmla="*/ 65 w 65"/>
                  <a:gd name="T5" fmla="*/ 15 h 70"/>
                  <a:gd name="T6" fmla="*/ 14 w 65"/>
                  <a:gd name="T7" fmla="*/ 70 h 70"/>
                  <a:gd name="T8" fmla="*/ 0 w 65"/>
                  <a:gd name="T9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70">
                    <a:moveTo>
                      <a:pt x="0" y="70"/>
                    </a:moveTo>
                    <a:lnTo>
                      <a:pt x="65" y="0"/>
                    </a:lnTo>
                    <a:lnTo>
                      <a:pt x="65" y="15"/>
                    </a:lnTo>
                    <a:lnTo>
                      <a:pt x="14" y="70"/>
                    </a:lnTo>
                    <a:lnTo>
                      <a:pt x="0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677"/>
              <p:cNvSpPr>
                <a:spLocks/>
              </p:cNvSpPr>
              <p:nvPr/>
            </p:nvSpPr>
            <p:spPr bwMode="auto">
              <a:xfrm>
                <a:off x="6860105" y="4594254"/>
                <a:ext cx="40780" cy="43694"/>
              </a:xfrm>
              <a:custGeom>
                <a:avLst/>
                <a:gdLst>
                  <a:gd name="T0" fmla="*/ 0 w 58"/>
                  <a:gd name="T1" fmla="*/ 63 h 63"/>
                  <a:gd name="T2" fmla="*/ 58 w 58"/>
                  <a:gd name="T3" fmla="*/ 0 h 63"/>
                  <a:gd name="T4" fmla="*/ 58 w 58"/>
                  <a:gd name="T5" fmla="*/ 15 h 63"/>
                  <a:gd name="T6" fmla="*/ 14 w 58"/>
                  <a:gd name="T7" fmla="*/ 63 h 63"/>
                  <a:gd name="T8" fmla="*/ 0 w 58"/>
                  <a:gd name="T9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3">
                    <a:moveTo>
                      <a:pt x="0" y="63"/>
                    </a:moveTo>
                    <a:lnTo>
                      <a:pt x="58" y="0"/>
                    </a:lnTo>
                    <a:lnTo>
                      <a:pt x="58" y="15"/>
                    </a:lnTo>
                    <a:lnTo>
                      <a:pt x="14" y="63"/>
                    </a:lnTo>
                    <a:lnTo>
                      <a:pt x="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678"/>
              <p:cNvSpPr>
                <a:spLocks/>
              </p:cNvSpPr>
              <p:nvPr/>
            </p:nvSpPr>
            <p:spPr bwMode="auto">
              <a:xfrm>
                <a:off x="6865931" y="4597166"/>
                <a:ext cx="34955" cy="40780"/>
              </a:xfrm>
              <a:custGeom>
                <a:avLst/>
                <a:gdLst>
                  <a:gd name="T0" fmla="*/ 0 w 51"/>
                  <a:gd name="T1" fmla="*/ 55 h 55"/>
                  <a:gd name="T2" fmla="*/ 51 w 51"/>
                  <a:gd name="T3" fmla="*/ 0 h 55"/>
                  <a:gd name="T4" fmla="*/ 51 w 51"/>
                  <a:gd name="T5" fmla="*/ 15 h 55"/>
                  <a:gd name="T6" fmla="*/ 13 w 51"/>
                  <a:gd name="T7" fmla="*/ 55 h 55"/>
                  <a:gd name="T8" fmla="*/ 0 w 51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55">
                    <a:moveTo>
                      <a:pt x="0" y="55"/>
                    </a:moveTo>
                    <a:lnTo>
                      <a:pt x="51" y="0"/>
                    </a:lnTo>
                    <a:lnTo>
                      <a:pt x="51" y="15"/>
                    </a:lnTo>
                    <a:lnTo>
                      <a:pt x="13" y="55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679"/>
              <p:cNvSpPr>
                <a:spLocks/>
              </p:cNvSpPr>
              <p:nvPr/>
            </p:nvSpPr>
            <p:spPr bwMode="auto">
              <a:xfrm>
                <a:off x="6868845" y="4602992"/>
                <a:ext cx="32043" cy="34955"/>
              </a:xfrm>
              <a:custGeom>
                <a:avLst/>
                <a:gdLst>
                  <a:gd name="T0" fmla="*/ 0 w 44"/>
                  <a:gd name="T1" fmla="*/ 48 h 48"/>
                  <a:gd name="T2" fmla="*/ 44 w 44"/>
                  <a:gd name="T3" fmla="*/ 0 h 48"/>
                  <a:gd name="T4" fmla="*/ 44 w 44"/>
                  <a:gd name="T5" fmla="*/ 15 h 48"/>
                  <a:gd name="T6" fmla="*/ 14 w 44"/>
                  <a:gd name="T7" fmla="*/ 48 h 48"/>
                  <a:gd name="T8" fmla="*/ 0 w 44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48">
                    <a:moveTo>
                      <a:pt x="0" y="48"/>
                    </a:moveTo>
                    <a:lnTo>
                      <a:pt x="44" y="0"/>
                    </a:lnTo>
                    <a:lnTo>
                      <a:pt x="44" y="15"/>
                    </a:lnTo>
                    <a:lnTo>
                      <a:pt x="14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680"/>
              <p:cNvSpPr>
                <a:spLocks/>
              </p:cNvSpPr>
              <p:nvPr/>
            </p:nvSpPr>
            <p:spPr bwMode="auto">
              <a:xfrm>
                <a:off x="6874671" y="4608817"/>
                <a:ext cx="26217" cy="29129"/>
              </a:xfrm>
              <a:custGeom>
                <a:avLst/>
                <a:gdLst>
                  <a:gd name="T0" fmla="*/ 0 w 38"/>
                  <a:gd name="T1" fmla="*/ 40 h 40"/>
                  <a:gd name="T2" fmla="*/ 38 w 38"/>
                  <a:gd name="T3" fmla="*/ 0 h 40"/>
                  <a:gd name="T4" fmla="*/ 38 w 38"/>
                  <a:gd name="T5" fmla="*/ 14 h 40"/>
                  <a:gd name="T6" fmla="*/ 14 w 38"/>
                  <a:gd name="T7" fmla="*/ 40 h 40"/>
                  <a:gd name="T8" fmla="*/ 0 w 38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0">
                    <a:moveTo>
                      <a:pt x="0" y="40"/>
                    </a:moveTo>
                    <a:lnTo>
                      <a:pt x="38" y="0"/>
                    </a:lnTo>
                    <a:lnTo>
                      <a:pt x="38" y="14"/>
                    </a:lnTo>
                    <a:lnTo>
                      <a:pt x="14" y="40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681"/>
              <p:cNvSpPr>
                <a:spLocks/>
              </p:cNvSpPr>
              <p:nvPr/>
            </p:nvSpPr>
            <p:spPr bwMode="auto">
              <a:xfrm>
                <a:off x="6880497" y="4614643"/>
                <a:ext cx="20391" cy="23303"/>
              </a:xfrm>
              <a:custGeom>
                <a:avLst/>
                <a:gdLst>
                  <a:gd name="T0" fmla="*/ 0 w 30"/>
                  <a:gd name="T1" fmla="*/ 33 h 33"/>
                  <a:gd name="T2" fmla="*/ 30 w 30"/>
                  <a:gd name="T3" fmla="*/ 0 h 33"/>
                  <a:gd name="T4" fmla="*/ 30 w 30"/>
                  <a:gd name="T5" fmla="*/ 14 h 33"/>
                  <a:gd name="T6" fmla="*/ 13 w 30"/>
                  <a:gd name="T7" fmla="*/ 33 h 33"/>
                  <a:gd name="T8" fmla="*/ 0 w 30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3">
                    <a:moveTo>
                      <a:pt x="0" y="33"/>
                    </a:moveTo>
                    <a:lnTo>
                      <a:pt x="30" y="0"/>
                    </a:lnTo>
                    <a:lnTo>
                      <a:pt x="30" y="14"/>
                    </a:lnTo>
                    <a:lnTo>
                      <a:pt x="13" y="33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682"/>
              <p:cNvSpPr>
                <a:spLocks/>
              </p:cNvSpPr>
              <p:nvPr/>
            </p:nvSpPr>
            <p:spPr bwMode="auto">
              <a:xfrm>
                <a:off x="6883409" y="4620469"/>
                <a:ext cx="17477" cy="17477"/>
              </a:xfrm>
              <a:custGeom>
                <a:avLst/>
                <a:gdLst>
                  <a:gd name="T0" fmla="*/ 0 w 24"/>
                  <a:gd name="T1" fmla="*/ 26 h 26"/>
                  <a:gd name="T2" fmla="*/ 24 w 24"/>
                  <a:gd name="T3" fmla="*/ 0 h 26"/>
                  <a:gd name="T4" fmla="*/ 24 w 24"/>
                  <a:gd name="T5" fmla="*/ 15 h 26"/>
                  <a:gd name="T6" fmla="*/ 14 w 24"/>
                  <a:gd name="T7" fmla="*/ 26 h 26"/>
                  <a:gd name="T8" fmla="*/ 0 w 24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6">
                    <a:moveTo>
                      <a:pt x="0" y="26"/>
                    </a:moveTo>
                    <a:lnTo>
                      <a:pt x="24" y="0"/>
                    </a:lnTo>
                    <a:lnTo>
                      <a:pt x="24" y="15"/>
                    </a:lnTo>
                    <a:lnTo>
                      <a:pt x="14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683"/>
              <p:cNvSpPr>
                <a:spLocks/>
              </p:cNvSpPr>
              <p:nvPr/>
            </p:nvSpPr>
            <p:spPr bwMode="auto">
              <a:xfrm>
                <a:off x="6889234" y="4626295"/>
                <a:ext cx="11652" cy="11652"/>
              </a:xfrm>
              <a:custGeom>
                <a:avLst/>
                <a:gdLst>
                  <a:gd name="T0" fmla="*/ 0 w 17"/>
                  <a:gd name="T1" fmla="*/ 19 h 19"/>
                  <a:gd name="T2" fmla="*/ 17 w 17"/>
                  <a:gd name="T3" fmla="*/ 0 h 19"/>
                  <a:gd name="T4" fmla="*/ 17 w 17"/>
                  <a:gd name="T5" fmla="*/ 15 h 19"/>
                  <a:gd name="T6" fmla="*/ 14 w 17"/>
                  <a:gd name="T7" fmla="*/ 19 h 19"/>
                  <a:gd name="T8" fmla="*/ 0 w 17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9">
                    <a:moveTo>
                      <a:pt x="0" y="19"/>
                    </a:moveTo>
                    <a:lnTo>
                      <a:pt x="17" y="0"/>
                    </a:lnTo>
                    <a:lnTo>
                      <a:pt x="17" y="15"/>
                    </a:lnTo>
                    <a:lnTo>
                      <a:pt x="14" y="19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684"/>
              <p:cNvSpPr>
                <a:spLocks/>
              </p:cNvSpPr>
              <p:nvPr/>
            </p:nvSpPr>
            <p:spPr bwMode="auto">
              <a:xfrm>
                <a:off x="6895060" y="4629209"/>
                <a:ext cx="5826" cy="8740"/>
              </a:xfrm>
              <a:custGeom>
                <a:avLst/>
                <a:gdLst>
                  <a:gd name="T0" fmla="*/ 0 w 10"/>
                  <a:gd name="T1" fmla="*/ 11 h 11"/>
                  <a:gd name="T2" fmla="*/ 10 w 10"/>
                  <a:gd name="T3" fmla="*/ 0 h 11"/>
                  <a:gd name="T4" fmla="*/ 10 w 10"/>
                  <a:gd name="T5" fmla="*/ 11 h 11"/>
                  <a:gd name="T6" fmla="*/ 0 w 10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10" y="0"/>
                    </a:lnTo>
                    <a:lnTo>
                      <a:pt x="1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685"/>
              <p:cNvSpPr>
                <a:spLocks/>
              </p:cNvSpPr>
              <p:nvPr/>
            </p:nvSpPr>
            <p:spPr bwMode="auto">
              <a:xfrm>
                <a:off x="6897974" y="4635034"/>
                <a:ext cx="2914" cy="2914"/>
              </a:xfrm>
              <a:custGeom>
                <a:avLst/>
                <a:gdLst>
                  <a:gd name="T0" fmla="*/ 0 w 3"/>
                  <a:gd name="T1" fmla="*/ 4 h 4"/>
                  <a:gd name="T2" fmla="*/ 3 w 3"/>
                  <a:gd name="T3" fmla="*/ 0 h 4"/>
                  <a:gd name="T4" fmla="*/ 3 w 3"/>
                  <a:gd name="T5" fmla="*/ 4 h 4"/>
                  <a:gd name="T6" fmla="*/ 0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3" y="0"/>
                    </a:lnTo>
                    <a:lnTo>
                      <a:pt x="3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Rectangle 686"/>
              <p:cNvSpPr>
                <a:spLocks noChangeArrowheads="1"/>
              </p:cNvSpPr>
              <p:nvPr/>
            </p:nvSpPr>
            <p:spPr bwMode="auto">
              <a:xfrm>
                <a:off x="6836802" y="4442783"/>
                <a:ext cx="64084" cy="195165"/>
              </a:xfrm>
              <a:prstGeom prst="rect">
                <a:avLst/>
              </a:prstGeom>
              <a:solidFill>
                <a:srgbClr val="FFFFFF"/>
              </a:solidFill>
              <a:ln w="4">
                <a:solidFill>
                  <a:srgbClr val="1F1A1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687"/>
              <p:cNvSpPr>
                <a:spLocks/>
              </p:cNvSpPr>
              <p:nvPr/>
            </p:nvSpPr>
            <p:spPr bwMode="auto">
              <a:xfrm>
                <a:off x="6935841" y="4402003"/>
                <a:ext cx="5826" cy="8740"/>
              </a:xfrm>
              <a:custGeom>
                <a:avLst/>
                <a:gdLst>
                  <a:gd name="T0" fmla="*/ 11 w 11"/>
                  <a:gd name="T1" fmla="*/ 0 h 12"/>
                  <a:gd name="T2" fmla="*/ 0 w 11"/>
                  <a:gd name="T3" fmla="*/ 12 h 12"/>
                  <a:gd name="T4" fmla="*/ 0 w 11"/>
                  <a:gd name="T5" fmla="*/ 0 h 12"/>
                  <a:gd name="T6" fmla="*/ 11 w 11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2">
                    <a:moveTo>
                      <a:pt x="11" y="0"/>
                    </a:moveTo>
                    <a:lnTo>
                      <a:pt x="0" y="12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688"/>
              <p:cNvSpPr>
                <a:spLocks/>
              </p:cNvSpPr>
              <p:nvPr/>
            </p:nvSpPr>
            <p:spPr bwMode="auto">
              <a:xfrm>
                <a:off x="6935841" y="4402003"/>
                <a:ext cx="11652" cy="14565"/>
              </a:xfrm>
              <a:custGeom>
                <a:avLst/>
                <a:gdLst>
                  <a:gd name="T0" fmla="*/ 0 w 18"/>
                  <a:gd name="T1" fmla="*/ 3 h 20"/>
                  <a:gd name="T2" fmla="*/ 2 w 18"/>
                  <a:gd name="T3" fmla="*/ 0 h 20"/>
                  <a:gd name="T4" fmla="*/ 18 w 18"/>
                  <a:gd name="T5" fmla="*/ 0 h 20"/>
                  <a:gd name="T6" fmla="*/ 0 w 18"/>
                  <a:gd name="T7" fmla="*/ 20 h 20"/>
                  <a:gd name="T8" fmla="*/ 0 w 18"/>
                  <a:gd name="T9" fmla="*/ 3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0">
                    <a:moveTo>
                      <a:pt x="0" y="3"/>
                    </a:moveTo>
                    <a:lnTo>
                      <a:pt x="2" y="0"/>
                    </a:lnTo>
                    <a:lnTo>
                      <a:pt x="18" y="0"/>
                    </a:lnTo>
                    <a:lnTo>
                      <a:pt x="0" y="2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689"/>
              <p:cNvSpPr>
                <a:spLocks/>
              </p:cNvSpPr>
              <p:nvPr/>
            </p:nvSpPr>
            <p:spPr bwMode="auto">
              <a:xfrm>
                <a:off x="6935841" y="4402003"/>
                <a:ext cx="17477" cy="20391"/>
              </a:xfrm>
              <a:custGeom>
                <a:avLst/>
                <a:gdLst>
                  <a:gd name="T0" fmla="*/ 0 w 26"/>
                  <a:gd name="T1" fmla="*/ 12 h 29"/>
                  <a:gd name="T2" fmla="*/ 11 w 26"/>
                  <a:gd name="T3" fmla="*/ 0 h 29"/>
                  <a:gd name="T4" fmla="*/ 26 w 26"/>
                  <a:gd name="T5" fmla="*/ 0 h 29"/>
                  <a:gd name="T6" fmla="*/ 0 w 26"/>
                  <a:gd name="T7" fmla="*/ 29 h 29"/>
                  <a:gd name="T8" fmla="*/ 0 w 26"/>
                  <a:gd name="T9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9">
                    <a:moveTo>
                      <a:pt x="0" y="12"/>
                    </a:moveTo>
                    <a:lnTo>
                      <a:pt x="11" y="0"/>
                    </a:lnTo>
                    <a:lnTo>
                      <a:pt x="26" y="0"/>
                    </a:lnTo>
                    <a:lnTo>
                      <a:pt x="0" y="29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690"/>
              <p:cNvSpPr>
                <a:spLocks/>
              </p:cNvSpPr>
              <p:nvPr/>
            </p:nvSpPr>
            <p:spPr bwMode="auto">
              <a:xfrm>
                <a:off x="6935841" y="4402003"/>
                <a:ext cx="23303" cy="29129"/>
              </a:xfrm>
              <a:custGeom>
                <a:avLst/>
                <a:gdLst>
                  <a:gd name="T0" fmla="*/ 0 w 34"/>
                  <a:gd name="T1" fmla="*/ 20 h 37"/>
                  <a:gd name="T2" fmla="*/ 18 w 34"/>
                  <a:gd name="T3" fmla="*/ 0 h 37"/>
                  <a:gd name="T4" fmla="*/ 34 w 34"/>
                  <a:gd name="T5" fmla="*/ 0 h 37"/>
                  <a:gd name="T6" fmla="*/ 0 w 34"/>
                  <a:gd name="T7" fmla="*/ 37 h 37"/>
                  <a:gd name="T8" fmla="*/ 0 w 34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7">
                    <a:moveTo>
                      <a:pt x="0" y="20"/>
                    </a:moveTo>
                    <a:lnTo>
                      <a:pt x="18" y="0"/>
                    </a:lnTo>
                    <a:lnTo>
                      <a:pt x="34" y="0"/>
                    </a:lnTo>
                    <a:lnTo>
                      <a:pt x="0" y="37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691"/>
              <p:cNvSpPr>
                <a:spLocks/>
              </p:cNvSpPr>
              <p:nvPr/>
            </p:nvSpPr>
            <p:spPr bwMode="auto">
              <a:xfrm>
                <a:off x="6935841" y="4402003"/>
                <a:ext cx="29129" cy="34955"/>
              </a:xfrm>
              <a:custGeom>
                <a:avLst/>
                <a:gdLst>
                  <a:gd name="T0" fmla="*/ 0 w 42"/>
                  <a:gd name="T1" fmla="*/ 29 h 46"/>
                  <a:gd name="T2" fmla="*/ 26 w 42"/>
                  <a:gd name="T3" fmla="*/ 0 h 46"/>
                  <a:gd name="T4" fmla="*/ 42 w 42"/>
                  <a:gd name="T5" fmla="*/ 0 h 46"/>
                  <a:gd name="T6" fmla="*/ 0 w 42"/>
                  <a:gd name="T7" fmla="*/ 46 h 46"/>
                  <a:gd name="T8" fmla="*/ 0 w 42"/>
                  <a:gd name="T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6">
                    <a:moveTo>
                      <a:pt x="0" y="29"/>
                    </a:moveTo>
                    <a:lnTo>
                      <a:pt x="26" y="0"/>
                    </a:lnTo>
                    <a:lnTo>
                      <a:pt x="42" y="0"/>
                    </a:lnTo>
                    <a:lnTo>
                      <a:pt x="0" y="46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692"/>
              <p:cNvSpPr>
                <a:spLocks/>
              </p:cNvSpPr>
              <p:nvPr/>
            </p:nvSpPr>
            <p:spPr bwMode="auto">
              <a:xfrm>
                <a:off x="6935841" y="4402003"/>
                <a:ext cx="34955" cy="40780"/>
              </a:xfrm>
              <a:custGeom>
                <a:avLst/>
                <a:gdLst>
                  <a:gd name="T0" fmla="*/ 0 w 50"/>
                  <a:gd name="T1" fmla="*/ 37 h 55"/>
                  <a:gd name="T2" fmla="*/ 34 w 50"/>
                  <a:gd name="T3" fmla="*/ 0 h 55"/>
                  <a:gd name="T4" fmla="*/ 50 w 50"/>
                  <a:gd name="T5" fmla="*/ 0 h 55"/>
                  <a:gd name="T6" fmla="*/ 0 w 50"/>
                  <a:gd name="T7" fmla="*/ 55 h 55"/>
                  <a:gd name="T8" fmla="*/ 0 w 50"/>
                  <a:gd name="T9" fmla="*/ 3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5">
                    <a:moveTo>
                      <a:pt x="0" y="37"/>
                    </a:moveTo>
                    <a:lnTo>
                      <a:pt x="34" y="0"/>
                    </a:lnTo>
                    <a:lnTo>
                      <a:pt x="50" y="0"/>
                    </a:lnTo>
                    <a:lnTo>
                      <a:pt x="0" y="55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693"/>
              <p:cNvSpPr>
                <a:spLocks/>
              </p:cNvSpPr>
              <p:nvPr/>
            </p:nvSpPr>
            <p:spPr bwMode="auto">
              <a:xfrm>
                <a:off x="6935841" y="4402003"/>
                <a:ext cx="40780" cy="46606"/>
              </a:xfrm>
              <a:custGeom>
                <a:avLst/>
                <a:gdLst>
                  <a:gd name="T0" fmla="*/ 0 w 58"/>
                  <a:gd name="T1" fmla="*/ 46 h 63"/>
                  <a:gd name="T2" fmla="*/ 42 w 58"/>
                  <a:gd name="T3" fmla="*/ 0 h 63"/>
                  <a:gd name="T4" fmla="*/ 58 w 58"/>
                  <a:gd name="T5" fmla="*/ 0 h 63"/>
                  <a:gd name="T6" fmla="*/ 0 w 58"/>
                  <a:gd name="T7" fmla="*/ 63 h 63"/>
                  <a:gd name="T8" fmla="*/ 0 w 58"/>
                  <a:gd name="T9" fmla="*/ 46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3">
                    <a:moveTo>
                      <a:pt x="0" y="46"/>
                    </a:moveTo>
                    <a:lnTo>
                      <a:pt x="42" y="0"/>
                    </a:lnTo>
                    <a:lnTo>
                      <a:pt x="58" y="0"/>
                    </a:lnTo>
                    <a:lnTo>
                      <a:pt x="0" y="63"/>
                    </a:lnTo>
                    <a:lnTo>
                      <a:pt x="0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694"/>
              <p:cNvSpPr>
                <a:spLocks/>
              </p:cNvSpPr>
              <p:nvPr/>
            </p:nvSpPr>
            <p:spPr bwMode="auto">
              <a:xfrm>
                <a:off x="6935841" y="4402003"/>
                <a:ext cx="46606" cy="52432"/>
              </a:xfrm>
              <a:custGeom>
                <a:avLst/>
                <a:gdLst>
                  <a:gd name="T0" fmla="*/ 0 w 66"/>
                  <a:gd name="T1" fmla="*/ 55 h 72"/>
                  <a:gd name="T2" fmla="*/ 50 w 66"/>
                  <a:gd name="T3" fmla="*/ 0 h 72"/>
                  <a:gd name="T4" fmla="*/ 66 w 66"/>
                  <a:gd name="T5" fmla="*/ 0 h 72"/>
                  <a:gd name="T6" fmla="*/ 0 w 66"/>
                  <a:gd name="T7" fmla="*/ 72 h 72"/>
                  <a:gd name="T8" fmla="*/ 0 w 66"/>
                  <a:gd name="T9" fmla="*/ 5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72">
                    <a:moveTo>
                      <a:pt x="0" y="55"/>
                    </a:moveTo>
                    <a:lnTo>
                      <a:pt x="50" y="0"/>
                    </a:lnTo>
                    <a:lnTo>
                      <a:pt x="66" y="0"/>
                    </a:lnTo>
                    <a:lnTo>
                      <a:pt x="0" y="72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695"/>
              <p:cNvSpPr>
                <a:spLocks/>
              </p:cNvSpPr>
              <p:nvPr/>
            </p:nvSpPr>
            <p:spPr bwMode="auto">
              <a:xfrm>
                <a:off x="6935841" y="4402003"/>
                <a:ext cx="52432" cy="58258"/>
              </a:xfrm>
              <a:custGeom>
                <a:avLst/>
                <a:gdLst>
                  <a:gd name="T0" fmla="*/ 0 w 73"/>
                  <a:gd name="T1" fmla="*/ 63 h 81"/>
                  <a:gd name="T2" fmla="*/ 58 w 73"/>
                  <a:gd name="T3" fmla="*/ 0 h 81"/>
                  <a:gd name="T4" fmla="*/ 73 w 73"/>
                  <a:gd name="T5" fmla="*/ 0 h 81"/>
                  <a:gd name="T6" fmla="*/ 0 w 73"/>
                  <a:gd name="T7" fmla="*/ 81 h 81"/>
                  <a:gd name="T8" fmla="*/ 0 w 73"/>
                  <a:gd name="T9" fmla="*/ 6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" h="81">
                    <a:moveTo>
                      <a:pt x="0" y="63"/>
                    </a:moveTo>
                    <a:lnTo>
                      <a:pt x="58" y="0"/>
                    </a:lnTo>
                    <a:lnTo>
                      <a:pt x="73" y="0"/>
                    </a:lnTo>
                    <a:lnTo>
                      <a:pt x="0" y="81"/>
                    </a:lnTo>
                    <a:lnTo>
                      <a:pt x="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696"/>
              <p:cNvSpPr>
                <a:spLocks/>
              </p:cNvSpPr>
              <p:nvPr/>
            </p:nvSpPr>
            <p:spPr bwMode="auto">
              <a:xfrm>
                <a:off x="6935841" y="4402003"/>
                <a:ext cx="58258" cy="66997"/>
              </a:xfrm>
              <a:custGeom>
                <a:avLst/>
                <a:gdLst>
                  <a:gd name="T0" fmla="*/ 0 w 82"/>
                  <a:gd name="T1" fmla="*/ 72 h 89"/>
                  <a:gd name="T2" fmla="*/ 66 w 82"/>
                  <a:gd name="T3" fmla="*/ 0 h 89"/>
                  <a:gd name="T4" fmla="*/ 82 w 82"/>
                  <a:gd name="T5" fmla="*/ 0 h 89"/>
                  <a:gd name="T6" fmla="*/ 0 w 82"/>
                  <a:gd name="T7" fmla="*/ 89 h 89"/>
                  <a:gd name="T8" fmla="*/ 0 w 82"/>
                  <a:gd name="T9" fmla="*/ 72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89">
                    <a:moveTo>
                      <a:pt x="0" y="72"/>
                    </a:moveTo>
                    <a:lnTo>
                      <a:pt x="66" y="0"/>
                    </a:lnTo>
                    <a:lnTo>
                      <a:pt x="82" y="0"/>
                    </a:lnTo>
                    <a:lnTo>
                      <a:pt x="0" y="89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697"/>
              <p:cNvSpPr>
                <a:spLocks/>
              </p:cNvSpPr>
              <p:nvPr/>
            </p:nvSpPr>
            <p:spPr bwMode="auto">
              <a:xfrm>
                <a:off x="6935841" y="4402003"/>
                <a:ext cx="64084" cy="72823"/>
              </a:xfrm>
              <a:custGeom>
                <a:avLst/>
                <a:gdLst>
                  <a:gd name="T0" fmla="*/ 0 w 87"/>
                  <a:gd name="T1" fmla="*/ 81 h 98"/>
                  <a:gd name="T2" fmla="*/ 73 w 87"/>
                  <a:gd name="T3" fmla="*/ 0 h 98"/>
                  <a:gd name="T4" fmla="*/ 87 w 87"/>
                  <a:gd name="T5" fmla="*/ 0 h 98"/>
                  <a:gd name="T6" fmla="*/ 87 w 87"/>
                  <a:gd name="T7" fmla="*/ 0 h 98"/>
                  <a:gd name="T8" fmla="*/ 87 w 87"/>
                  <a:gd name="T9" fmla="*/ 3 h 98"/>
                  <a:gd name="T10" fmla="*/ 0 w 87"/>
                  <a:gd name="T11" fmla="*/ 98 h 98"/>
                  <a:gd name="T12" fmla="*/ 0 w 87"/>
                  <a:gd name="T13" fmla="*/ 8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98">
                    <a:moveTo>
                      <a:pt x="0" y="81"/>
                    </a:moveTo>
                    <a:lnTo>
                      <a:pt x="73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3"/>
                    </a:lnTo>
                    <a:lnTo>
                      <a:pt x="0" y="98"/>
                    </a:lnTo>
                    <a:lnTo>
                      <a:pt x="0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Freeform 698"/>
              <p:cNvSpPr>
                <a:spLocks/>
              </p:cNvSpPr>
              <p:nvPr/>
            </p:nvSpPr>
            <p:spPr bwMode="auto">
              <a:xfrm>
                <a:off x="6935841" y="4402003"/>
                <a:ext cx="64084" cy="78649"/>
              </a:xfrm>
              <a:custGeom>
                <a:avLst/>
                <a:gdLst>
                  <a:gd name="T0" fmla="*/ 0 w 87"/>
                  <a:gd name="T1" fmla="*/ 89 h 106"/>
                  <a:gd name="T2" fmla="*/ 82 w 87"/>
                  <a:gd name="T3" fmla="*/ 0 h 106"/>
                  <a:gd name="T4" fmla="*/ 86 w 87"/>
                  <a:gd name="T5" fmla="*/ 0 h 106"/>
                  <a:gd name="T6" fmla="*/ 87 w 87"/>
                  <a:gd name="T7" fmla="*/ 0 h 106"/>
                  <a:gd name="T8" fmla="*/ 87 w 87"/>
                  <a:gd name="T9" fmla="*/ 12 h 106"/>
                  <a:gd name="T10" fmla="*/ 0 w 87"/>
                  <a:gd name="T11" fmla="*/ 106 h 106"/>
                  <a:gd name="T12" fmla="*/ 0 w 87"/>
                  <a:gd name="T13" fmla="*/ 89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06">
                    <a:moveTo>
                      <a:pt x="0" y="89"/>
                    </a:moveTo>
                    <a:lnTo>
                      <a:pt x="82" y="0"/>
                    </a:lnTo>
                    <a:lnTo>
                      <a:pt x="86" y="0"/>
                    </a:lnTo>
                    <a:lnTo>
                      <a:pt x="87" y="0"/>
                    </a:lnTo>
                    <a:lnTo>
                      <a:pt x="87" y="12"/>
                    </a:lnTo>
                    <a:lnTo>
                      <a:pt x="0" y="106"/>
                    </a:lnTo>
                    <a:lnTo>
                      <a:pt x="0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699"/>
              <p:cNvSpPr>
                <a:spLocks/>
              </p:cNvSpPr>
              <p:nvPr/>
            </p:nvSpPr>
            <p:spPr bwMode="auto">
              <a:xfrm>
                <a:off x="6935841" y="4404915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700"/>
              <p:cNvSpPr>
                <a:spLocks/>
              </p:cNvSpPr>
              <p:nvPr/>
            </p:nvSpPr>
            <p:spPr bwMode="auto">
              <a:xfrm>
                <a:off x="6935841" y="4410741"/>
                <a:ext cx="64084" cy="81561"/>
              </a:xfrm>
              <a:custGeom>
                <a:avLst/>
                <a:gdLst>
                  <a:gd name="T0" fmla="*/ 0 w 87"/>
                  <a:gd name="T1" fmla="*/ 94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701"/>
              <p:cNvSpPr>
                <a:spLocks/>
              </p:cNvSpPr>
              <p:nvPr/>
            </p:nvSpPr>
            <p:spPr bwMode="auto">
              <a:xfrm>
                <a:off x="6935841" y="4416567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702"/>
              <p:cNvSpPr>
                <a:spLocks/>
              </p:cNvSpPr>
              <p:nvPr/>
            </p:nvSpPr>
            <p:spPr bwMode="auto">
              <a:xfrm>
                <a:off x="6935841" y="4422392"/>
                <a:ext cx="64084" cy="81561"/>
              </a:xfrm>
              <a:custGeom>
                <a:avLst/>
                <a:gdLst>
                  <a:gd name="T0" fmla="*/ 0 w 87"/>
                  <a:gd name="T1" fmla="*/ 95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703"/>
              <p:cNvSpPr>
                <a:spLocks/>
              </p:cNvSpPr>
              <p:nvPr/>
            </p:nvSpPr>
            <p:spPr bwMode="auto">
              <a:xfrm>
                <a:off x="6935841" y="4431132"/>
                <a:ext cx="64084" cy="78649"/>
              </a:xfrm>
              <a:custGeom>
                <a:avLst/>
                <a:gdLst>
                  <a:gd name="T0" fmla="*/ 0 w 87"/>
                  <a:gd name="T1" fmla="*/ 95 h 111"/>
                  <a:gd name="T2" fmla="*/ 87 w 87"/>
                  <a:gd name="T3" fmla="*/ 0 h 111"/>
                  <a:gd name="T4" fmla="*/ 87 w 87"/>
                  <a:gd name="T5" fmla="*/ 18 h 111"/>
                  <a:gd name="T6" fmla="*/ 0 w 87"/>
                  <a:gd name="T7" fmla="*/ 111 h 111"/>
                  <a:gd name="T8" fmla="*/ 0 w 87"/>
                  <a:gd name="T9" fmla="*/ 9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5"/>
                    </a:moveTo>
                    <a:lnTo>
                      <a:pt x="87" y="0"/>
                    </a:lnTo>
                    <a:lnTo>
                      <a:pt x="87" y="18"/>
                    </a:lnTo>
                    <a:lnTo>
                      <a:pt x="0" y="111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704"/>
              <p:cNvSpPr>
                <a:spLocks/>
              </p:cNvSpPr>
              <p:nvPr/>
            </p:nvSpPr>
            <p:spPr bwMode="auto">
              <a:xfrm>
                <a:off x="6935841" y="4436958"/>
                <a:ext cx="64084" cy="78649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705"/>
              <p:cNvSpPr>
                <a:spLocks/>
              </p:cNvSpPr>
              <p:nvPr/>
            </p:nvSpPr>
            <p:spPr bwMode="auto">
              <a:xfrm>
                <a:off x="6935841" y="4442783"/>
                <a:ext cx="64084" cy="81561"/>
              </a:xfrm>
              <a:custGeom>
                <a:avLst/>
                <a:gdLst>
                  <a:gd name="T0" fmla="*/ 0 w 87"/>
                  <a:gd name="T1" fmla="*/ 93 h 110"/>
                  <a:gd name="T2" fmla="*/ 87 w 87"/>
                  <a:gd name="T3" fmla="*/ 0 h 110"/>
                  <a:gd name="T4" fmla="*/ 87 w 87"/>
                  <a:gd name="T5" fmla="*/ 17 h 110"/>
                  <a:gd name="T6" fmla="*/ 0 w 87"/>
                  <a:gd name="T7" fmla="*/ 110 h 110"/>
                  <a:gd name="T8" fmla="*/ 0 w 87"/>
                  <a:gd name="T9" fmla="*/ 93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3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0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706"/>
              <p:cNvSpPr>
                <a:spLocks/>
              </p:cNvSpPr>
              <p:nvPr/>
            </p:nvSpPr>
            <p:spPr bwMode="auto">
              <a:xfrm>
                <a:off x="6935841" y="4448609"/>
                <a:ext cx="64084" cy="81561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8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8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707"/>
              <p:cNvSpPr>
                <a:spLocks/>
              </p:cNvSpPr>
              <p:nvPr/>
            </p:nvSpPr>
            <p:spPr bwMode="auto">
              <a:xfrm>
                <a:off x="6935841" y="4454435"/>
                <a:ext cx="64084" cy="81561"/>
              </a:xfrm>
              <a:custGeom>
                <a:avLst/>
                <a:gdLst>
                  <a:gd name="T0" fmla="*/ 0 w 87"/>
                  <a:gd name="T1" fmla="*/ 93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3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3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708"/>
              <p:cNvSpPr>
                <a:spLocks/>
              </p:cNvSpPr>
              <p:nvPr/>
            </p:nvSpPr>
            <p:spPr bwMode="auto">
              <a:xfrm>
                <a:off x="6935841" y="4460261"/>
                <a:ext cx="64084" cy="81561"/>
              </a:xfrm>
              <a:custGeom>
                <a:avLst/>
                <a:gdLst>
                  <a:gd name="T0" fmla="*/ 0 w 87"/>
                  <a:gd name="T1" fmla="*/ 93 h 110"/>
                  <a:gd name="T2" fmla="*/ 87 w 87"/>
                  <a:gd name="T3" fmla="*/ 0 h 110"/>
                  <a:gd name="T4" fmla="*/ 87 w 87"/>
                  <a:gd name="T5" fmla="*/ 17 h 110"/>
                  <a:gd name="T6" fmla="*/ 0 w 87"/>
                  <a:gd name="T7" fmla="*/ 110 h 110"/>
                  <a:gd name="T8" fmla="*/ 0 w 87"/>
                  <a:gd name="T9" fmla="*/ 93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3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0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709"/>
              <p:cNvSpPr>
                <a:spLocks/>
              </p:cNvSpPr>
              <p:nvPr/>
            </p:nvSpPr>
            <p:spPr bwMode="auto">
              <a:xfrm>
                <a:off x="6935841" y="4468999"/>
                <a:ext cx="64084" cy="78649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710"/>
              <p:cNvSpPr>
                <a:spLocks/>
              </p:cNvSpPr>
              <p:nvPr/>
            </p:nvSpPr>
            <p:spPr bwMode="auto">
              <a:xfrm>
                <a:off x="6935841" y="4474824"/>
                <a:ext cx="64084" cy="78649"/>
              </a:xfrm>
              <a:custGeom>
                <a:avLst/>
                <a:gdLst>
                  <a:gd name="T0" fmla="*/ 0 w 87"/>
                  <a:gd name="T1" fmla="*/ 93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3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3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711"/>
              <p:cNvSpPr>
                <a:spLocks/>
              </p:cNvSpPr>
              <p:nvPr/>
            </p:nvSpPr>
            <p:spPr bwMode="auto">
              <a:xfrm>
                <a:off x="6935841" y="4480650"/>
                <a:ext cx="64084" cy="81561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8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8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Freeform 712"/>
              <p:cNvSpPr>
                <a:spLocks/>
              </p:cNvSpPr>
              <p:nvPr/>
            </p:nvSpPr>
            <p:spPr bwMode="auto">
              <a:xfrm>
                <a:off x="6935841" y="4486476"/>
                <a:ext cx="64084" cy="81561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713"/>
              <p:cNvSpPr>
                <a:spLocks/>
              </p:cNvSpPr>
              <p:nvPr/>
            </p:nvSpPr>
            <p:spPr bwMode="auto">
              <a:xfrm>
                <a:off x="6935841" y="4492302"/>
                <a:ext cx="64084" cy="81561"/>
              </a:xfrm>
              <a:custGeom>
                <a:avLst/>
                <a:gdLst>
                  <a:gd name="T0" fmla="*/ 0 w 87"/>
                  <a:gd name="T1" fmla="*/ 93 h 110"/>
                  <a:gd name="T2" fmla="*/ 87 w 87"/>
                  <a:gd name="T3" fmla="*/ 0 h 110"/>
                  <a:gd name="T4" fmla="*/ 87 w 87"/>
                  <a:gd name="T5" fmla="*/ 16 h 110"/>
                  <a:gd name="T6" fmla="*/ 0 w 87"/>
                  <a:gd name="T7" fmla="*/ 110 h 110"/>
                  <a:gd name="T8" fmla="*/ 0 w 87"/>
                  <a:gd name="T9" fmla="*/ 93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0">
                    <a:moveTo>
                      <a:pt x="0" y="93"/>
                    </a:moveTo>
                    <a:lnTo>
                      <a:pt x="87" y="0"/>
                    </a:lnTo>
                    <a:lnTo>
                      <a:pt x="87" y="16"/>
                    </a:lnTo>
                    <a:lnTo>
                      <a:pt x="0" y="110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714"/>
              <p:cNvSpPr>
                <a:spLocks/>
              </p:cNvSpPr>
              <p:nvPr/>
            </p:nvSpPr>
            <p:spPr bwMode="auto">
              <a:xfrm>
                <a:off x="6935841" y="4498128"/>
                <a:ext cx="64084" cy="81561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6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6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715"/>
              <p:cNvSpPr>
                <a:spLocks/>
              </p:cNvSpPr>
              <p:nvPr/>
            </p:nvSpPr>
            <p:spPr bwMode="auto">
              <a:xfrm>
                <a:off x="6935841" y="4503953"/>
                <a:ext cx="64084" cy="81561"/>
              </a:xfrm>
              <a:custGeom>
                <a:avLst/>
                <a:gdLst>
                  <a:gd name="T0" fmla="*/ 0 w 87"/>
                  <a:gd name="T1" fmla="*/ 94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716"/>
              <p:cNvSpPr>
                <a:spLocks/>
              </p:cNvSpPr>
              <p:nvPr/>
            </p:nvSpPr>
            <p:spPr bwMode="auto">
              <a:xfrm>
                <a:off x="6935841" y="4509779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717"/>
              <p:cNvSpPr>
                <a:spLocks/>
              </p:cNvSpPr>
              <p:nvPr/>
            </p:nvSpPr>
            <p:spPr bwMode="auto">
              <a:xfrm>
                <a:off x="6935841" y="4515605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718"/>
              <p:cNvSpPr>
                <a:spLocks/>
              </p:cNvSpPr>
              <p:nvPr/>
            </p:nvSpPr>
            <p:spPr bwMode="auto">
              <a:xfrm>
                <a:off x="6935841" y="4524344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8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8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719"/>
              <p:cNvSpPr>
                <a:spLocks/>
              </p:cNvSpPr>
              <p:nvPr/>
            </p:nvSpPr>
            <p:spPr bwMode="auto">
              <a:xfrm>
                <a:off x="6935841" y="4530170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720"/>
              <p:cNvSpPr>
                <a:spLocks/>
              </p:cNvSpPr>
              <p:nvPr/>
            </p:nvSpPr>
            <p:spPr bwMode="auto">
              <a:xfrm>
                <a:off x="6935841" y="4535996"/>
                <a:ext cx="64084" cy="81561"/>
              </a:xfrm>
              <a:custGeom>
                <a:avLst/>
                <a:gdLst>
                  <a:gd name="T0" fmla="*/ 0 w 87"/>
                  <a:gd name="T1" fmla="*/ 94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721"/>
              <p:cNvSpPr>
                <a:spLocks/>
              </p:cNvSpPr>
              <p:nvPr/>
            </p:nvSpPr>
            <p:spPr bwMode="auto">
              <a:xfrm>
                <a:off x="6935841" y="4541822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8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8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722"/>
              <p:cNvSpPr>
                <a:spLocks/>
              </p:cNvSpPr>
              <p:nvPr/>
            </p:nvSpPr>
            <p:spPr bwMode="auto">
              <a:xfrm>
                <a:off x="6935841" y="4547648"/>
                <a:ext cx="64084" cy="81561"/>
              </a:xfrm>
              <a:custGeom>
                <a:avLst/>
                <a:gdLst>
                  <a:gd name="T0" fmla="*/ 0 w 87"/>
                  <a:gd name="T1" fmla="*/ 95 h 112"/>
                  <a:gd name="T2" fmla="*/ 87 w 87"/>
                  <a:gd name="T3" fmla="*/ 0 h 112"/>
                  <a:gd name="T4" fmla="*/ 87 w 87"/>
                  <a:gd name="T5" fmla="*/ 17 h 112"/>
                  <a:gd name="T6" fmla="*/ 0 w 87"/>
                  <a:gd name="T7" fmla="*/ 112 h 112"/>
                  <a:gd name="T8" fmla="*/ 0 w 87"/>
                  <a:gd name="T9" fmla="*/ 9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2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2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723"/>
              <p:cNvSpPr>
                <a:spLocks/>
              </p:cNvSpPr>
              <p:nvPr/>
            </p:nvSpPr>
            <p:spPr bwMode="auto">
              <a:xfrm>
                <a:off x="6935841" y="4553473"/>
                <a:ext cx="64084" cy="81561"/>
              </a:xfrm>
              <a:custGeom>
                <a:avLst/>
                <a:gdLst>
                  <a:gd name="T0" fmla="*/ 0 w 87"/>
                  <a:gd name="T1" fmla="*/ 94 h 111"/>
                  <a:gd name="T2" fmla="*/ 87 w 87"/>
                  <a:gd name="T3" fmla="*/ 0 h 111"/>
                  <a:gd name="T4" fmla="*/ 87 w 87"/>
                  <a:gd name="T5" fmla="*/ 17 h 111"/>
                  <a:gd name="T6" fmla="*/ 0 w 87"/>
                  <a:gd name="T7" fmla="*/ 111 h 111"/>
                  <a:gd name="T8" fmla="*/ 0 w 87"/>
                  <a:gd name="T9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111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0" y="111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724"/>
              <p:cNvSpPr>
                <a:spLocks/>
              </p:cNvSpPr>
              <p:nvPr/>
            </p:nvSpPr>
            <p:spPr bwMode="auto">
              <a:xfrm>
                <a:off x="6935841" y="4562211"/>
                <a:ext cx="64084" cy="75735"/>
              </a:xfrm>
              <a:custGeom>
                <a:avLst/>
                <a:gdLst>
                  <a:gd name="T0" fmla="*/ 0 w 87"/>
                  <a:gd name="T1" fmla="*/ 95 h 107"/>
                  <a:gd name="T2" fmla="*/ 87 w 87"/>
                  <a:gd name="T3" fmla="*/ 0 h 107"/>
                  <a:gd name="T4" fmla="*/ 87 w 87"/>
                  <a:gd name="T5" fmla="*/ 17 h 107"/>
                  <a:gd name="T6" fmla="*/ 5 w 87"/>
                  <a:gd name="T7" fmla="*/ 107 h 107"/>
                  <a:gd name="T8" fmla="*/ 0 w 87"/>
                  <a:gd name="T9" fmla="*/ 107 h 107"/>
                  <a:gd name="T10" fmla="*/ 0 w 87"/>
                  <a:gd name="T11" fmla="*/ 9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107">
                    <a:moveTo>
                      <a:pt x="0" y="95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5" y="107"/>
                    </a:lnTo>
                    <a:lnTo>
                      <a:pt x="0" y="107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725"/>
              <p:cNvSpPr>
                <a:spLocks/>
              </p:cNvSpPr>
              <p:nvPr/>
            </p:nvSpPr>
            <p:spPr bwMode="auto">
              <a:xfrm>
                <a:off x="6935841" y="4568037"/>
                <a:ext cx="64084" cy="69909"/>
              </a:xfrm>
              <a:custGeom>
                <a:avLst/>
                <a:gdLst>
                  <a:gd name="T0" fmla="*/ 0 w 87"/>
                  <a:gd name="T1" fmla="*/ 94 h 98"/>
                  <a:gd name="T2" fmla="*/ 87 w 87"/>
                  <a:gd name="T3" fmla="*/ 0 h 98"/>
                  <a:gd name="T4" fmla="*/ 87 w 87"/>
                  <a:gd name="T5" fmla="*/ 17 h 98"/>
                  <a:gd name="T6" fmla="*/ 13 w 87"/>
                  <a:gd name="T7" fmla="*/ 98 h 98"/>
                  <a:gd name="T8" fmla="*/ 0 w 87"/>
                  <a:gd name="T9" fmla="*/ 98 h 98"/>
                  <a:gd name="T10" fmla="*/ 0 w 87"/>
                  <a:gd name="T11" fmla="*/ 9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7" h="98">
                    <a:moveTo>
                      <a:pt x="0" y="94"/>
                    </a:moveTo>
                    <a:lnTo>
                      <a:pt x="87" y="0"/>
                    </a:lnTo>
                    <a:lnTo>
                      <a:pt x="87" y="17"/>
                    </a:lnTo>
                    <a:lnTo>
                      <a:pt x="13" y="98"/>
                    </a:lnTo>
                    <a:lnTo>
                      <a:pt x="0" y="98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726"/>
              <p:cNvSpPr>
                <a:spLocks/>
              </p:cNvSpPr>
              <p:nvPr/>
            </p:nvSpPr>
            <p:spPr bwMode="auto">
              <a:xfrm>
                <a:off x="6938754" y="4573863"/>
                <a:ext cx="61172" cy="64084"/>
              </a:xfrm>
              <a:custGeom>
                <a:avLst/>
                <a:gdLst>
                  <a:gd name="T0" fmla="*/ 0 w 82"/>
                  <a:gd name="T1" fmla="*/ 90 h 90"/>
                  <a:gd name="T2" fmla="*/ 82 w 82"/>
                  <a:gd name="T3" fmla="*/ 0 h 90"/>
                  <a:gd name="T4" fmla="*/ 82 w 82"/>
                  <a:gd name="T5" fmla="*/ 18 h 90"/>
                  <a:gd name="T6" fmla="*/ 16 w 82"/>
                  <a:gd name="T7" fmla="*/ 90 h 90"/>
                  <a:gd name="T8" fmla="*/ 0 w 82"/>
                  <a:gd name="T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90">
                    <a:moveTo>
                      <a:pt x="0" y="90"/>
                    </a:moveTo>
                    <a:lnTo>
                      <a:pt x="82" y="0"/>
                    </a:lnTo>
                    <a:lnTo>
                      <a:pt x="82" y="18"/>
                    </a:lnTo>
                    <a:lnTo>
                      <a:pt x="16" y="90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727"/>
              <p:cNvSpPr>
                <a:spLocks/>
              </p:cNvSpPr>
              <p:nvPr/>
            </p:nvSpPr>
            <p:spPr bwMode="auto">
              <a:xfrm>
                <a:off x="6944580" y="4579688"/>
                <a:ext cx="55346" cy="58258"/>
              </a:xfrm>
              <a:custGeom>
                <a:avLst/>
                <a:gdLst>
                  <a:gd name="T0" fmla="*/ 0 w 74"/>
                  <a:gd name="T1" fmla="*/ 81 h 81"/>
                  <a:gd name="T2" fmla="*/ 74 w 74"/>
                  <a:gd name="T3" fmla="*/ 0 h 81"/>
                  <a:gd name="T4" fmla="*/ 74 w 74"/>
                  <a:gd name="T5" fmla="*/ 17 h 81"/>
                  <a:gd name="T6" fmla="*/ 16 w 74"/>
                  <a:gd name="T7" fmla="*/ 81 h 81"/>
                  <a:gd name="T8" fmla="*/ 0 w 74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81">
                    <a:moveTo>
                      <a:pt x="0" y="81"/>
                    </a:moveTo>
                    <a:lnTo>
                      <a:pt x="74" y="0"/>
                    </a:lnTo>
                    <a:lnTo>
                      <a:pt x="74" y="17"/>
                    </a:lnTo>
                    <a:lnTo>
                      <a:pt x="16" y="81"/>
                    </a:lnTo>
                    <a:lnTo>
                      <a:pt x="0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728"/>
              <p:cNvSpPr>
                <a:spLocks/>
              </p:cNvSpPr>
              <p:nvPr/>
            </p:nvSpPr>
            <p:spPr bwMode="auto">
              <a:xfrm>
                <a:off x="6950406" y="4585514"/>
                <a:ext cx="49520" cy="52432"/>
              </a:xfrm>
              <a:custGeom>
                <a:avLst/>
                <a:gdLst>
                  <a:gd name="T0" fmla="*/ 0 w 66"/>
                  <a:gd name="T1" fmla="*/ 72 h 72"/>
                  <a:gd name="T2" fmla="*/ 66 w 66"/>
                  <a:gd name="T3" fmla="*/ 0 h 72"/>
                  <a:gd name="T4" fmla="*/ 66 w 66"/>
                  <a:gd name="T5" fmla="*/ 17 h 72"/>
                  <a:gd name="T6" fmla="*/ 16 w 66"/>
                  <a:gd name="T7" fmla="*/ 72 h 72"/>
                  <a:gd name="T8" fmla="*/ 0 w 66"/>
                  <a:gd name="T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72">
                    <a:moveTo>
                      <a:pt x="0" y="72"/>
                    </a:moveTo>
                    <a:lnTo>
                      <a:pt x="66" y="0"/>
                    </a:lnTo>
                    <a:lnTo>
                      <a:pt x="66" y="17"/>
                    </a:lnTo>
                    <a:lnTo>
                      <a:pt x="16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729"/>
              <p:cNvSpPr>
                <a:spLocks/>
              </p:cNvSpPr>
              <p:nvPr/>
            </p:nvSpPr>
            <p:spPr bwMode="auto">
              <a:xfrm>
                <a:off x="6956232" y="4591340"/>
                <a:ext cx="43694" cy="46606"/>
              </a:xfrm>
              <a:custGeom>
                <a:avLst/>
                <a:gdLst>
                  <a:gd name="T0" fmla="*/ 0 w 58"/>
                  <a:gd name="T1" fmla="*/ 64 h 64"/>
                  <a:gd name="T2" fmla="*/ 58 w 58"/>
                  <a:gd name="T3" fmla="*/ 0 h 64"/>
                  <a:gd name="T4" fmla="*/ 58 w 58"/>
                  <a:gd name="T5" fmla="*/ 17 h 64"/>
                  <a:gd name="T6" fmla="*/ 15 w 58"/>
                  <a:gd name="T7" fmla="*/ 64 h 64"/>
                  <a:gd name="T8" fmla="*/ 0 w 58"/>
                  <a:gd name="T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4">
                    <a:moveTo>
                      <a:pt x="0" y="64"/>
                    </a:moveTo>
                    <a:lnTo>
                      <a:pt x="58" y="0"/>
                    </a:lnTo>
                    <a:lnTo>
                      <a:pt x="58" y="17"/>
                    </a:lnTo>
                    <a:lnTo>
                      <a:pt x="15" y="64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730"/>
              <p:cNvSpPr>
                <a:spLocks/>
              </p:cNvSpPr>
              <p:nvPr/>
            </p:nvSpPr>
            <p:spPr bwMode="auto">
              <a:xfrm>
                <a:off x="6962058" y="4597166"/>
                <a:ext cx="37869" cy="40780"/>
              </a:xfrm>
              <a:custGeom>
                <a:avLst/>
                <a:gdLst>
                  <a:gd name="T0" fmla="*/ 0 w 50"/>
                  <a:gd name="T1" fmla="*/ 55 h 55"/>
                  <a:gd name="T2" fmla="*/ 50 w 50"/>
                  <a:gd name="T3" fmla="*/ 0 h 55"/>
                  <a:gd name="T4" fmla="*/ 50 w 50"/>
                  <a:gd name="T5" fmla="*/ 17 h 55"/>
                  <a:gd name="T6" fmla="*/ 16 w 50"/>
                  <a:gd name="T7" fmla="*/ 55 h 55"/>
                  <a:gd name="T8" fmla="*/ 0 w 50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5">
                    <a:moveTo>
                      <a:pt x="0" y="55"/>
                    </a:moveTo>
                    <a:lnTo>
                      <a:pt x="50" y="0"/>
                    </a:lnTo>
                    <a:lnTo>
                      <a:pt x="50" y="17"/>
                    </a:lnTo>
                    <a:lnTo>
                      <a:pt x="16" y="55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731"/>
              <p:cNvSpPr>
                <a:spLocks/>
              </p:cNvSpPr>
              <p:nvPr/>
            </p:nvSpPr>
            <p:spPr bwMode="auto">
              <a:xfrm>
                <a:off x="6967883" y="4605905"/>
                <a:ext cx="32043" cy="32043"/>
              </a:xfrm>
              <a:custGeom>
                <a:avLst/>
                <a:gdLst>
                  <a:gd name="T0" fmla="*/ 0 w 43"/>
                  <a:gd name="T1" fmla="*/ 47 h 47"/>
                  <a:gd name="T2" fmla="*/ 43 w 43"/>
                  <a:gd name="T3" fmla="*/ 0 h 47"/>
                  <a:gd name="T4" fmla="*/ 43 w 43"/>
                  <a:gd name="T5" fmla="*/ 18 h 47"/>
                  <a:gd name="T6" fmla="*/ 16 w 43"/>
                  <a:gd name="T7" fmla="*/ 47 h 47"/>
                  <a:gd name="T8" fmla="*/ 0 w 43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7">
                    <a:moveTo>
                      <a:pt x="0" y="47"/>
                    </a:moveTo>
                    <a:lnTo>
                      <a:pt x="43" y="0"/>
                    </a:lnTo>
                    <a:lnTo>
                      <a:pt x="43" y="18"/>
                    </a:lnTo>
                    <a:lnTo>
                      <a:pt x="16" y="47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732"/>
              <p:cNvSpPr>
                <a:spLocks/>
              </p:cNvSpPr>
              <p:nvPr/>
            </p:nvSpPr>
            <p:spPr bwMode="auto">
              <a:xfrm>
                <a:off x="6973709" y="4611731"/>
                <a:ext cx="26217" cy="26217"/>
              </a:xfrm>
              <a:custGeom>
                <a:avLst/>
                <a:gdLst>
                  <a:gd name="T0" fmla="*/ 0 w 34"/>
                  <a:gd name="T1" fmla="*/ 38 h 38"/>
                  <a:gd name="T2" fmla="*/ 34 w 34"/>
                  <a:gd name="T3" fmla="*/ 0 h 38"/>
                  <a:gd name="T4" fmla="*/ 34 w 34"/>
                  <a:gd name="T5" fmla="*/ 17 h 38"/>
                  <a:gd name="T6" fmla="*/ 15 w 34"/>
                  <a:gd name="T7" fmla="*/ 38 h 38"/>
                  <a:gd name="T8" fmla="*/ 0 w 34"/>
                  <a:gd name="T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8">
                    <a:moveTo>
                      <a:pt x="0" y="38"/>
                    </a:moveTo>
                    <a:lnTo>
                      <a:pt x="34" y="0"/>
                    </a:lnTo>
                    <a:lnTo>
                      <a:pt x="34" y="17"/>
                    </a:lnTo>
                    <a:lnTo>
                      <a:pt x="15" y="38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733"/>
              <p:cNvSpPr>
                <a:spLocks/>
              </p:cNvSpPr>
              <p:nvPr/>
            </p:nvSpPr>
            <p:spPr bwMode="auto">
              <a:xfrm>
                <a:off x="6979535" y="4617557"/>
                <a:ext cx="20391" cy="20391"/>
              </a:xfrm>
              <a:custGeom>
                <a:avLst/>
                <a:gdLst>
                  <a:gd name="T0" fmla="*/ 0 w 27"/>
                  <a:gd name="T1" fmla="*/ 29 h 29"/>
                  <a:gd name="T2" fmla="*/ 27 w 27"/>
                  <a:gd name="T3" fmla="*/ 0 h 29"/>
                  <a:gd name="T4" fmla="*/ 27 w 27"/>
                  <a:gd name="T5" fmla="*/ 17 h 29"/>
                  <a:gd name="T6" fmla="*/ 16 w 27"/>
                  <a:gd name="T7" fmla="*/ 29 h 29"/>
                  <a:gd name="T8" fmla="*/ 0 w 2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9">
                    <a:moveTo>
                      <a:pt x="0" y="29"/>
                    </a:moveTo>
                    <a:lnTo>
                      <a:pt x="27" y="0"/>
                    </a:lnTo>
                    <a:lnTo>
                      <a:pt x="27" y="17"/>
                    </a:lnTo>
                    <a:lnTo>
                      <a:pt x="16" y="2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734"/>
              <p:cNvSpPr>
                <a:spLocks/>
              </p:cNvSpPr>
              <p:nvPr/>
            </p:nvSpPr>
            <p:spPr bwMode="auto">
              <a:xfrm>
                <a:off x="6985361" y="4623383"/>
                <a:ext cx="14565" cy="14565"/>
              </a:xfrm>
              <a:custGeom>
                <a:avLst/>
                <a:gdLst>
                  <a:gd name="T0" fmla="*/ 0 w 19"/>
                  <a:gd name="T1" fmla="*/ 21 h 21"/>
                  <a:gd name="T2" fmla="*/ 19 w 19"/>
                  <a:gd name="T3" fmla="*/ 0 h 21"/>
                  <a:gd name="T4" fmla="*/ 19 w 19"/>
                  <a:gd name="T5" fmla="*/ 17 h 21"/>
                  <a:gd name="T6" fmla="*/ 16 w 19"/>
                  <a:gd name="T7" fmla="*/ 21 h 21"/>
                  <a:gd name="T8" fmla="*/ 0 w 19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0" y="21"/>
                    </a:moveTo>
                    <a:lnTo>
                      <a:pt x="19" y="0"/>
                    </a:lnTo>
                    <a:lnTo>
                      <a:pt x="19" y="17"/>
                    </a:lnTo>
                    <a:lnTo>
                      <a:pt x="16" y="21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735"/>
              <p:cNvSpPr>
                <a:spLocks/>
              </p:cNvSpPr>
              <p:nvPr/>
            </p:nvSpPr>
            <p:spPr bwMode="auto">
              <a:xfrm>
                <a:off x="6991186" y="4629209"/>
                <a:ext cx="8740" cy="8740"/>
              </a:xfrm>
              <a:custGeom>
                <a:avLst/>
                <a:gdLst>
                  <a:gd name="T0" fmla="*/ 0 w 11"/>
                  <a:gd name="T1" fmla="*/ 12 h 12"/>
                  <a:gd name="T2" fmla="*/ 11 w 11"/>
                  <a:gd name="T3" fmla="*/ 0 h 12"/>
                  <a:gd name="T4" fmla="*/ 11 w 11"/>
                  <a:gd name="T5" fmla="*/ 12 h 12"/>
                  <a:gd name="T6" fmla="*/ 0 w 11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2">
                    <a:moveTo>
                      <a:pt x="0" y="12"/>
                    </a:moveTo>
                    <a:lnTo>
                      <a:pt x="11" y="0"/>
                    </a:lnTo>
                    <a:lnTo>
                      <a:pt x="11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736"/>
              <p:cNvSpPr>
                <a:spLocks/>
              </p:cNvSpPr>
              <p:nvPr/>
            </p:nvSpPr>
            <p:spPr bwMode="auto">
              <a:xfrm>
                <a:off x="6997012" y="4635034"/>
                <a:ext cx="2914" cy="2914"/>
              </a:xfrm>
              <a:custGeom>
                <a:avLst/>
                <a:gdLst>
                  <a:gd name="T0" fmla="*/ 0 w 3"/>
                  <a:gd name="T1" fmla="*/ 4 h 4"/>
                  <a:gd name="T2" fmla="*/ 3 w 3"/>
                  <a:gd name="T3" fmla="*/ 0 h 4"/>
                  <a:gd name="T4" fmla="*/ 3 w 3"/>
                  <a:gd name="T5" fmla="*/ 4 h 4"/>
                  <a:gd name="T6" fmla="*/ 0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lnTo>
                      <a:pt x="3" y="0"/>
                    </a:lnTo>
                    <a:lnTo>
                      <a:pt x="3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Rectangle 737"/>
              <p:cNvSpPr>
                <a:spLocks noChangeArrowheads="1"/>
              </p:cNvSpPr>
              <p:nvPr/>
            </p:nvSpPr>
            <p:spPr bwMode="auto">
              <a:xfrm>
                <a:off x="6935841" y="4402003"/>
                <a:ext cx="64084" cy="235945"/>
              </a:xfrm>
              <a:prstGeom prst="rect">
                <a:avLst/>
              </a:prstGeom>
              <a:solidFill>
                <a:srgbClr val="FFFFFF"/>
              </a:solidFill>
              <a:ln w="4">
                <a:solidFill>
                  <a:srgbClr val="1F1A1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738"/>
              <p:cNvSpPr>
                <a:spLocks/>
              </p:cNvSpPr>
              <p:nvPr/>
            </p:nvSpPr>
            <p:spPr bwMode="auto">
              <a:xfrm>
                <a:off x="7031967" y="4352483"/>
                <a:ext cx="8740" cy="11652"/>
              </a:xfrm>
              <a:custGeom>
                <a:avLst/>
                <a:gdLst>
                  <a:gd name="T0" fmla="*/ 13 w 13"/>
                  <a:gd name="T1" fmla="*/ 0 h 14"/>
                  <a:gd name="T2" fmla="*/ 0 w 13"/>
                  <a:gd name="T3" fmla="*/ 14 h 14"/>
                  <a:gd name="T4" fmla="*/ 0 w 13"/>
                  <a:gd name="T5" fmla="*/ 0 h 14"/>
                  <a:gd name="T6" fmla="*/ 13 w 13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4">
                    <a:moveTo>
                      <a:pt x="13" y="0"/>
                    </a:moveTo>
                    <a:lnTo>
                      <a:pt x="0" y="14"/>
                    </a:lnTo>
                    <a:lnTo>
                      <a:pt x="0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739"/>
              <p:cNvSpPr>
                <a:spLocks/>
              </p:cNvSpPr>
              <p:nvPr/>
            </p:nvSpPr>
            <p:spPr bwMode="auto">
              <a:xfrm>
                <a:off x="7031967" y="4352483"/>
                <a:ext cx="14565" cy="17477"/>
              </a:xfrm>
              <a:custGeom>
                <a:avLst/>
                <a:gdLst>
                  <a:gd name="T0" fmla="*/ 0 w 22"/>
                  <a:gd name="T1" fmla="*/ 4 h 24"/>
                  <a:gd name="T2" fmla="*/ 4 w 22"/>
                  <a:gd name="T3" fmla="*/ 0 h 24"/>
                  <a:gd name="T4" fmla="*/ 22 w 22"/>
                  <a:gd name="T5" fmla="*/ 0 h 24"/>
                  <a:gd name="T6" fmla="*/ 0 w 22"/>
                  <a:gd name="T7" fmla="*/ 24 h 24"/>
                  <a:gd name="T8" fmla="*/ 0 w 22"/>
                  <a:gd name="T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4">
                    <a:moveTo>
                      <a:pt x="0" y="4"/>
                    </a:moveTo>
                    <a:lnTo>
                      <a:pt x="4" y="0"/>
                    </a:lnTo>
                    <a:lnTo>
                      <a:pt x="22" y="0"/>
                    </a:lnTo>
                    <a:lnTo>
                      <a:pt x="0" y="2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740"/>
              <p:cNvSpPr>
                <a:spLocks/>
              </p:cNvSpPr>
              <p:nvPr/>
            </p:nvSpPr>
            <p:spPr bwMode="auto">
              <a:xfrm>
                <a:off x="7031967" y="4352483"/>
                <a:ext cx="23303" cy="26217"/>
              </a:xfrm>
              <a:custGeom>
                <a:avLst/>
                <a:gdLst>
                  <a:gd name="T0" fmla="*/ 0 w 32"/>
                  <a:gd name="T1" fmla="*/ 14 h 34"/>
                  <a:gd name="T2" fmla="*/ 13 w 32"/>
                  <a:gd name="T3" fmla="*/ 0 h 34"/>
                  <a:gd name="T4" fmla="*/ 32 w 32"/>
                  <a:gd name="T5" fmla="*/ 0 h 34"/>
                  <a:gd name="T6" fmla="*/ 0 w 32"/>
                  <a:gd name="T7" fmla="*/ 34 h 34"/>
                  <a:gd name="T8" fmla="*/ 0 w 32"/>
                  <a:gd name="T9" fmla="*/ 1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4">
                    <a:moveTo>
                      <a:pt x="0" y="14"/>
                    </a:moveTo>
                    <a:lnTo>
                      <a:pt x="13" y="0"/>
                    </a:lnTo>
                    <a:lnTo>
                      <a:pt x="32" y="0"/>
                    </a:lnTo>
                    <a:lnTo>
                      <a:pt x="0" y="3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5" name="Freeform 741"/>
              <p:cNvSpPr>
                <a:spLocks/>
              </p:cNvSpPr>
              <p:nvPr/>
            </p:nvSpPr>
            <p:spPr bwMode="auto">
              <a:xfrm>
                <a:off x="7031967" y="4352483"/>
                <a:ext cx="29129" cy="32043"/>
              </a:xfrm>
              <a:custGeom>
                <a:avLst/>
                <a:gdLst>
                  <a:gd name="T0" fmla="*/ 0 w 40"/>
                  <a:gd name="T1" fmla="*/ 24 h 44"/>
                  <a:gd name="T2" fmla="*/ 22 w 40"/>
                  <a:gd name="T3" fmla="*/ 0 h 44"/>
                  <a:gd name="T4" fmla="*/ 40 w 40"/>
                  <a:gd name="T5" fmla="*/ 0 h 44"/>
                  <a:gd name="T6" fmla="*/ 0 w 40"/>
                  <a:gd name="T7" fmla="*/ 44 h 44"/>
                  <a:gd name="T8" fmla="*/ 0 w 40"/>
                  <a:gd name="T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4">
                    <a:moveTo>
                      <a:pt x="0" y="24"/>
                    </a:moveTo>
                    <a:lnTo>
                      <a:pt x="22" y="0"/>
                    </a:lnTo>
                    <a:lnTo>
                      <a:pt x="40" y="0"/>
                    </a:lnTo>
                    <a:lnTo>
                      <a:pt x="0" y="4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6" name="Freeform 742"/>
              <p:cNvSpPr>
                <a:spLocks/>
              </p:cNvSpPr>
              <p:nvPr/>
            </p:nvSpPr>
            <p:spPr bwMode="auto">
              <a:xfrm>
                <a:off x="7031967" y="4352483"/>
                <a:ext cx="34955" cy="37869"/>
              </a:xfrm>
              <a:custGeom>
                <a:avLst/>
                <a:gdLst>
                  <a:gd name="T0" fmla="*/ 0 w 50"/>
                  <a:gd name="T1" fmla="*/ 34 h 54"/>
                  <a:gd name="T2" fmla="*/ 32 w 50"/>
                  <a:gd name="T3" fmla="*/ 0 h 54"/>
                  <a:gd name="T4" fmla="*/ 50 w 50"/>
                  <a:gd name="T5" fmla="*/ 0 h 54"/>
                  <a:gd name="T6" fmla="*/ 0 w 50"/>
                  <a:gd name="T7" fmla="*/ 54 h 54"/>
                  <a:gd name="T8" fmla="*/ 0 w 50"/>
                  <a:gd name="T9" fmla="*/ 3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54">
                    <a:moveTo>
                      <a:pt x="0" y="34"/>
                    </a:moveTo>
                    <a:lnTo>
                      <a:pt x="32" y="0"/>
                    </a:lnTo>
                    <a:lnTo>
                      <a:pt x="50" y="0"/>
                    </a:lnTo>
                    <a:lnTo>
                      <a:pt x="0" y="54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7" name="Freeform 743"/>
              <p:cNvSpPr>
                <a:spLocks/>
              </p:cNvSpPr>
              <p:nvPr/>
            </p:nvSpPr>
            <p:spPr bwMode="auto">
              <a:xfrm>
                <a:off x="7031967" y="4352483"/>
                <a:ext cx="43694" cy="46606"/>
              </a:xfrm>
              <a:custGeom>
                <a:avLst/>
                <a:gdLst>
                  <a:gd name="T0" fmla="*/ 0 w 59"/>
                  <a:gd name="T1" fmla="*/ 44 h 63"/>
                  <a:gd name="T2" fmla="*/ 40 w 59"/>
                  <a:gd name="T3" fmla="*/ 0 h 63"/>
                  <a:gd name="T4" fmla="*/ 59 w 59"/>
                  <a:gd name="T5" fmla="*/ 0 h 63"/>
                  <a:gd name="T6" fmla="*/ 0 w 59"/>
                  <a:gd name="T7" fmla="*/ 63 h 63"/>
                  <a:gd name="T8" fmla="*/ 0 w 59"/>
                  <a:gd name="T9" fmla="*/ 4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63">
                    <a:moveTo>
                      <a:pt x="0" y="44"/>
                    </a:moveTo>
                    <a:lnTo>
                      <a:pt x="40" y="0"/>
                    </a:lnTo>
                    <a:lnTo>
                      <a:pt x="59" y="0"/>
                    </a:lnTo>
                    <a:lnTo>
                      <a:pt x="0" y="63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8" name="Freeform 744"/>
              <p:cNvSpPr>
                <a:spLocks/>
              </p:cNvSpPr>
              <p:nvPr/>
            </p:nvSpPr>
            <p:spPr bwMode="auto">
              <a:xfrm>
                <a:off x="7031967" y="4352483"/>
                <a:ext cx="49520" cy="55346"/>
              </a:xfrm>
              <a:custGeom>
                <a:avLst/>
                <a:gdLst>
                  <a:gd name="T0" fmla="*/ 0 w 68"/>
                  <a:gd name="T1" fmla="*/ 54 h 74"/>
                  <a:gd name="T2" fmla="*/ 50 w 68"/>
                  <a:gd name="T3" fmla="*/ 0 h 74"/>
                  <a:gd name="T4" fmla="*/ 68 w 68"/>
                  <a:gd name="T5" fmla="*/ 0 h 74"/>
                  <a:gd name="T6" fmla="*/ 0 w 68"/>
                  <a:gd name="T7" fmla="*/ 74 h 74"/>
                  <a:gd name="T8" fmla="*/ 0 w 68"/>
                  <a:gd name="T9" fmla="*/ 5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74">
                    <a:moveTo>
                      <a:pt x="0" y="54"/>
                    </a:moveTo>
                    <a:lnTo>
                      <a:pt x="50" y="0"/>
                    </a:lnTo>
                    <a:lnTo>
                      <a:pt x="68" y="0"/>
                    </a:lnTo>
                    <a:lnTo>
                      <a:pt x="0" y="74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9" name="Freeform 745"/>
              <p:cNvSpPr>
                <a:spLocks/>
              </p:cNvSpPr>
              <p:nvPr/>
            </p:nvSpPr>
            <p:spPr bwMode="auto">
              <a:xfrm>
                <a:off x="7031967" y="4352483"/>
                <a:ext cx="55346" cy="61172"/>
              </a:xfrm>
              <a:custGeom>
                <a:avLst/>
                <a:gdLst>
                  <a:gd name="T0" fmla="*/ 0 w 77"/>
                  <a:gd name="T1" fmla="*/ 63 h 84"/>
                  <a:gd name="T2" fmla="*/ 59 w 77"/>
                  <a:gd name="T3" fmla="*/ 0 h 84"/>
                  <a:gd name="T4" fmla="*/ 77 w 77"/>
                  <a:gd name="T5" fmla="*/ 0 h 84"/>
                  <a:gd name="T6" fmla="*/ 0 w 77"/>
                  <a:gd name="T7" fmla="*/ 84 h 84"/>
                  <a:gd name="T8" fmla="*/ 0 w 77"/>
                  <a:gd name="T9" fmla="*/ 6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84">
                    <a:moveTo>
                      <a:pt x="0" y="63"/>
                    </a:moveTo>
                    <a:lnTo>
                      <a:pt x="59" y="0"/>
                    </a:lnTo>
                    <a:lnTo>
                      <a:pt x="77" y="0"/>
                    </a:lnTo>
                    <a:lnTo>
                      <a:pt x="0" y="84"/>
                    </a:lnTo>
                    <a:lnTo>
                      <a:pt x="0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0" name="Freeform 746"/>
              <p:cNvSpPr>
                <a:spLocks/>
              </p:cNvSpPr>
              <p:nvPr/>
            </p:nvSpPr>
            <p:spPr bwMode="auto">
              <a:xfrm>
                <a:off x="7031967" y="4352483"/>
                <a:ext cx="64084" cy="66997"/>
              </a:xfrm>
              <a:custGeom>
                <a:avLst/>
                <a:gdLst>
                  <a:gd name="T0" fmla="*/ 0 w 86"/>
                  <a:gd name="T1" fmla="*/ 74 h 94"/>
                  <a:gd name="T2" fmla="*/ 68 w 86"/>
                  <a:gd name="T3" fmla="*/ 0 h 94"/>
                  <a:gd name="T4" fmla="*/ 86 w 86"/>
                  <a:gd name="T5" fmla="*/ 0 h 94"/>
                  <a:gd name="T6" fmla="*/ 0 w 86"/>
                  <a:gd name="T7" fmla="*/ 94 h 94"/>
                  <a:gd name="T8" fmla="*/ 0 w 86"/>
                  <a:gd name="T9" fmla="*/ 7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94">
                    <a:moveTo>
                      <a:pt x="0" y="74"/>
                    </a:moveTo>
                    <a:lnTo>
                      <a:pt x="68" y="0"/>
                    </a:lnTo>
                    <a:lnTo>
                      <a:pt x="86" y="0"/>
                    </a:lnTo>
                    <a:lnTo>
                      <a:pt x="0" y="94"/>
                    </a:lnTo>
                    <a:lnTo>
                      <a:pt x="0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1" name="Freeform 747"/>
              <p:cNvSpPr>
                <a:spLocks/>
              </p:cNvSpPr>
              <p:nvPr/>
            </p:nvSpPr>
            <p:spPr bwMode="auto">
              <a:xfrm>
                <a:off x="7031967" y="4352483"/>
                <a:ext cx="64084" cy="75735"/>
              </a:xfrm>
              <a:custGeom>
                <a:avLst/>
                <a:gdLst>
                  <a:gd name="T0" fmla="*/ 0 w 86"/>
                  <a:gd name="T1" fmla="*/ 84 h 103"/>
                  <a:gd name="T2" fmla="*/ 77 w 86"/>
                  <a:gd name="T3" fmla="*/ 0 h 103"/>
                  <a:gd name="T4" fmla="*/ 86 w 86"/>
                  <a:gd name="T5" fmla="*/ 0 h 103"/>
                  <a:gd name="T6" fmla="*/ 86 w 86"/>
                  <a:gd name="T7" fmla="*/ 10 h 103"/>
                  <a:gd name="T8" fmla="*/ 0 w 86"/>
                  <a:gd name="T9" fmla="*/ 103 h 103"/>
                  <a:gd name="T10" fmla="*/ 0 w 86"/>
                  <a:gd name="T11" fmla="*/ 8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103">
                    <a:moveTo>
                      <a:pt x="0" y="84"/>
                    </a:moveTo>
                    <a:lnTo>
                      <a:pt x="77" y="0"/>
                    </a:lnTo>
                    <a:lnTo>
                      <a:pt x="86" y="0"/>
                    </a:lnTo>
                    <a:lnTo>
                      <a:pt x="86" y="10"/>
                    </a:lnTo>
                    <a:lnTo>
                      <a:pt x="0" y="103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2" name="Freeform 748"/>
              <p:cNvSpPr>
                <a:spLocks/>
              </p:cNvSpPr>
              <p:nvPr/>
            </p:nvSpPr>
            <p:spPr bwMode="auto">
              <a:xfrm>
                <a:off x="7031967" y="4352483"/>
                <a:ext cx="64084" cy="84475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0 h 114"/>
                  <a:gd name="T6" fmla="*/ 86 w 86"/>
                  <a:gd name="T7" fmla="*/ 19 h 114"/>
                  <a:gd name="T8" fmla="*/ 0 w 86"/>
                  <a:gd name="T9" fmla="*/ 114 h 114"/>
                  <a:gd name="T10" fmla="*/ 0 w 86"/>
                  <a:gd name="T11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3" name="Freeform 749"/>
              <p:cNvSpPr>
                <a:spLocks/>
              </p:cNvSpPr>
              <p:nvPr/>
            </p:nvSpPr>
            <p:spPr bwMode="auto">
              <a:xfrm>
                <a:off x="7031967" y="4358309"/>
                <a:ext cx="64084" cy="84475"/>
              </a:xfrm>
              <a:custGeom>
                <a:avLst/>
                <a:gdLst>
                  <a:gd name="T0" fmla="*/ 0 w 86"/>
                  <a:gd name="T1" fmla="*/ 93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3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4" name="Freeform 750"/>
              <p:cNvSpPr>
                <a:spLocks/>
              </p:cNvSpPr>
              <p:nvPr/>
            </p:nvSpPr>
            <p:spPr bwMode="auto">
              <a:xfrm>
                <a:off x="7031967" y="4367048"/>
                <a:ext cx="64084" cy="81561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1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5" name="Freeform 751"/>
              <p:cNvSpPr>
                <a:spLocks/>
              </p:cNvSpPr>
              <p:nvPr/>
            </p:nvSpPr>
            <p:spPr bwMode="auto">
              <a:xfrm>
                <a:off x="7031967" y="4372874"/>
                <a:ext cx="64084" cy="84475"/>
              </a:xfrm>
              <a:custGeom>
                <a:avLst/>
                <a:gdLst>
                  <a:gd name="T0" fmla="*/ 0 w 86"/>
                  <a:gd name="T1" fmla="*/ 95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6" name="Freeform 752"/>
              <p:cNvSpPr>
                <a:spLocks/>
              </p:cNvSpPr>
              <p:nvPr/>
            </p:nvSpPr>
            <p:spPr bwMode="auto">
              <a:xfrm>
                <a:off x="7031967" y="4381612"/>
                <a:ext cx="64084" cy="81561"/>
              </a:xfrm>
              <a:custGeom>
                <a:avLst/>
                <a:gdLst>
                  <a:gd name="T0" fmla="*/ 0 w 86"/>
                  <a:gd name="T1" fmla="*/ 93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3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7" name="Freeform 753"/>
              <p:cNvSpPr>
                <a:spLocks/>
              </p:cNvSpPr>
              <p:nvPr/>
            </p:nvSpPr>
            <p:spPr bwMode="auto">
              <a:xfrm>
                <a:off x="7031967" y="4387438"/>
                <a:ext cx="64084" cy="84475"/>
              </a:xfrm>
              <a:custGeom>
                <a:avLst/>
                <a:gdLst>
                  <a:gd name="T0" fmla="*/ 0 w 86"/>
                  <a:gd name="T1" fmla="*/ 95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8" name="Freeform 754"/>
              <p:cNvSpPr>
                <a:spLocks/>
              </p:cNvSpPr>
              <p:nvPr/>
            </p:nvSpPr>
            <p:spPr bwMode="auto">
              <a:xfrm>
                <a:off x="7031967" y="4396177"/>
                <a:ext cx="64084" cy="81561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1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9" name="Freeform 755"/>
              <p:cNvSpPr>
                <a:spLocks/>
              </p:cNvSpPr>
              <p:nvPr/>
            </p:nvSpPr>
            <p:spPr bwMode="auto">
              <a:xfrm>
                <a:off x="7031967" y="4402003"/>
                <a:ext cx="64084" cy="84475"/>
              </a:xfrm>
              <a:custGeom>
                <a:avLst/>
                <a:gdLst>
                  <a:gd name="T0" fmla="*/ 0 w 86"/>
                  <a:gd name="T1" fmla="*/ 95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0" name="Freeform 756"/>
              <p:cNvSpPr>
                <a:spLocks/>
              </p:cNvSpPr>
              <p:nvPr/>
            </p:nvSpPr>
            <p:spPr bwMode="auto">
              <a:xfrm>
                <a:off x="7031967" y="4410741"/>
                <a:ext cx="64084" cy="81561"/>
              </a:xfrm>
              <a:custGeom>
                <a:avLst/>
                <a:gdLst>
                  <a:gd name="T0" fmla="*/ 0 w 86"/>
                  <a:gd name="T1" fmla="*/ 93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3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1" name="Freeform 757"/>
              <p:cNvSpPr>
                <a:spLocks/>
              </p:cNvSpPr>
              <p:nvPr/>
            </p:nvSpPr>
            <p:spPr bwMode="auto">
              <a:xfrm>
                <a:off x="7031967" y="4416567"/>
                <a:ext cx="64084" cy="84475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2" name="Freeform 758"/>
              <p:cNvSpPr>
                <a:spLocks/>
              </p:cNvSpPr>
              <p:nvPr/>
            </p:nvSpPr>
            <p:spPr bwMode="auto">
              <a:xfrm>
                <a:off x="7031967" y="4425306"/>
                <a:ext cx="64084" cy="81561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3" name="Freeform 759"/>
              <p:cNvSpPr>
                <a:spLocks/>
              </p:cNvSpPr>
              <p:nvPr/>
            </p:nvSpPr>
            <p:spPr bwMode="auto">
              <a:xfrm>
                <a:off x="7031967" y="4431132"/>
                <a:ext cx="64084" cy="84475"/>
              </a:xfrm>
              <a:custGeom>
                <a:avLst/>
                <a:gdLst>
                  <a:gd name="T0" fmla="*/ 0 w 86"/>
                  <a:gd name="T1" fmla="*/ 94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4" name="Freeform 760"/>
              <p:cNvSpPr>
                <a:spLocks/>
              </p:cNvSpPr>
              <p:nvPr/>
            </p:nvSpPr>
            <p:spPr bwMode="auto">
              <a:xfrm>
                <a:off x="7031967" y="4439870"/>
                <a:ext cx="64084" cy="81561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5" name="Freeform 761"/>
              <p:cNvSpPr>
                <a:spLocks/>
              </p:cNvSpPr>
              <p:nvPr/>
            </p:nvSpPr>
            <p:spPr bwMode="auto">
              <a:xfrm>
                <a:off x="7031967" y="4445695"/>
                <a:ext cx="64084" cy="84475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1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6" name="Freeform 762"/>
              <p:cNvSpPr>
                <a:spLocks/>
              </p:cNvSpPr>
              <p:nvPr/>
            </p:nvSpPr>
            <p:spPr bwMode="auto">
              <a:xfrm>
                <a:off x="7031967" y="4454435"/>
                <a:ext cx="64084" cy="81561"/>
              </a:xfrm>
              <a:custGeom>
                <a:avLst/>
                <a:gdLst>
                  <a:gd name="T0" fmla="*/ 0 w 86"/>
                  <a:gd name="T1" fmla="*/ 94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7" name="Freeform 763"/>
              <p:cNvSpPr>
                <a:spLocks/>
              </p:cNvSpPr>
              <p:nvPr/>
            </p:nvSpPr>
            <p:spPr bwMode="auto">
              <a:xfrm>
                <a:off x="7031967" y="4460261"/>
                <a:ext cx="64084" cy="84475"/>
              </a:xfrm>
              <a:custGeom>
                <a:avLst/>
                <a:gdLst>
                  <a:gd name="T0" fmla="*/ 0 w 86"/>
                  <a:gd name="T1" fmla="*/ 93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3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3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8" name="Freeform 764"/>
              <p:cNvSpPr>
                <a:spLocks/>
              </p:cNvSpPr>
              <p:nvPr/>
            </p:nvSpPr>
            <p:spPr bwMode="auto">
              <a:xfrm>
                <a:off x="7031967" y="4468999"/>
                <a:ext cx="64084" cy="81561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9" name="Freeform 765"/>
              <p:cNvSpPr>
                <a:spLocks/>
              </p:cNvSpPr>
              <p:nvPr/>
            </p:nvSpPr>
            <p:spPr bwMode="auto">
              <a:xfrm>
                <a:off x="7031967" y="4474824"/>
                <a:ext cx="64084" cy="84475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0" name="Freeform 766"/>
              <p:cNvSpPr>
                <a:spLocks/>
              </p:cNvSpPr>
              <p:nvPr/>
            </p:nvSpPr>
            <p:spPr bwMode="auto">
              <a:xfrm>
                <a:off x="7031967" y="4483564"/>
                <a:ext cx="64084" cy="81561"/>
              </a:xfrm>
              <a:custGeom>
                <a:avLst/>
                <a:gdLst>
                  <a:gd name="T0" fmla="*/ 0 w 86"/>
                  <a:gd name="T1" fmla="*/ 94 h 115"/>
                  <a:gd name="T2" fmla="*/ 86 w 86"/>
                  <a:gd name="T3" fmla="*/ 0 h 115"/>
                  <a:gd name="T4" fmla="*/ 86 w 86"/>
                  <a:gd name="T5" fmla="*/ 20 h 115"/>
                  <a:gd name="T6" fmla="*/ 0 w 86"/>
                  <a:gd name="T7" fmla="*/ 115 h 115"/>
                  <a:gd name="T8" fmla="*/ 0 w 86"/>
                  <a:gd name="T9" fmla="*/ 9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5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1" name="Freeform 767"/>
              <p:cNvSpPr>
                <a:spLocks/>
              </p:cNvSpPr>
              <p:nvPr/>
            </p:nvSpPr>
            <p:spPr bwMode="auto">
              <a:xfrm>
                <a:off x="7031967" y="4489390"/>
                <a:ext cx="64084" cy="84475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2" name="Freeform 768"/>
              <p:cNvSpPr>
                <a:spLocks/>
              </p:cNvSpPr>
              <p:nvPr/>
            </p:nvSpPr>
            <p:spPr bwMode="auto">
              <a:xfrm>
                <a:off x="7031967" y="4498128"/>
                <a:ext cx="64084" cy="81561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3" name="Freeform 769"/>
              <p:cNvSpPr>
                <a:spLocks/>
              </p:cNvSpPr>
              <p:nvPr/>
            </p:nvSpPr>
            <p:spPr bwMode="auto">
              <a:xfrm>
                <a:off x="7031967" y="4503953"/>
                <a:ext cx="64084" cy="84475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4" name="Freeform 770"/>
              <p:cNvSpPr>
                <a:spLocks/>
              </p:cNvSpPr>
              <p:nvPr/>
            </p:nvSpPr>
            <p:spPr bwMode="auto">
              <a:xfrm>
                <a:off x="7031967" y="4512693"/>
                <a:ext cx="64084" cy="81561"/>
              </a:xfrm>
              <a:custGeom>
                <a:avLst/>
                <a:gdLst>
                  <a:gd name="T0" fmla="*/ 0 w 86"/>
                  <a:gd name="T1" fmla="*/ 95 h 115"/>
                  <a:gd name="T2" fmla="*/ 86 w 86"/>
                  <a:gd name="T3" fmla="*/ 0 h 115"/>
                  <a:gd name="T4" fmla="*/ 86 w 86"/>
                  <a:gd name="T5" fmla="*/ 21 h 115"/>
                  <a:gd name="T6" fmla="*/ 0 w 86"/>
                  <a:gd name="T7" fmla="*/ 115 h 115"/>
                  <a:gd name="T8" fmla="*/ 0 w 86"/>
                  <a:gd name="T9" fmla="*/ 9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5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0" y="115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5" name="Freeform 771"/>
              <p:cNvSpPr>
                <a:spLocks/>
              </p:cNvSpPr>
              <p:nvPr/>
            </p:nvSpPr>
            <p:spPr bwMode="auto">
              <a:xfrm>
                <a:off x="7031967" y="4518519"/>
                <a:ext cx="64084" cy="84475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6" name="Freeform 772"/>
              <p:cNvSpPr>
                <a:spLocks/>
              </p:cNvSpPr>
              <p:nvPr/>
            </p:nvSpPr>
            <p:spPr bwMode="auto">
              <a:xfrm>
                <a:off x="7031967" y="4527256"/>
                <a:ext cx="64084" cy="81561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7" name="Freeform 773"/>
              <p:cNvSpPr>
                <a:spLocks/>
              </p:cNvSpPr>
              <p:nvPr/>
            </p:nvSpPr>
            <p:spPr bwMode="auto">
              <a:xfrm>
                <a:off x="7031967" y="4533082"/>
                <a:ext cx="64084" cy="84475"/>
              </a:xfrm>
              <a:custGeom>
                <a:avLst/>
                <a:gdLst>
                  <a:gd name="T0" fmla="*/ 0 w 86"/>
                  <a:gd name="T1" fmla="*/ 95 h 116"/>
                  <a:gd name="T2" fmla="*/ 86 w 86"/>
                  <a:gd name="T3" fmla="*/ 0 h 116"/>
                  <a:gd name="T4" fmla="*/ 86 w 86"/>
                  <a:gd name="T5" fmla="*/ 21 h 116"/>
                  <a:gd name="T6" fmla="*/ 0 w 86"/>
                  <a:gd name="T7" fmla="*/ 116 h 116"/>
                  <a:gd name="T8" fmla="*/ 0 w 86"/>
                  <a:gd name="T9" fmla="*/ 9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6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0" y="116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8" name="Freeform 774"/>
              <p:cNvSpPr>
                <a:spLocks/>
              </p:cNvSpPr>
              <p:nvPr/>
            </p:nvSpPr>
            <p:spPr bwMode="auto">
              <a:xfrm>
                <a:off x="7031967" y="4541822"/>
                <a:ext cx="64084" cy="81561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9" name="Freeform 775"/>
              <p:cNvSpPr>
                <a:spLocks/>
              </p:cNvSpPr>
              <p:nvPr/>
            </p:nvSpPr>
            <p:spPr bwMode="auto">
              <a:xfrm>
                <a:off x="7031967" y="4547648"/>
                <a:ext cx="64084" cy="84475"/>
              </a:xfrm>
              <a:custGeom>
                <a:avLst/>
                <a:gdLst>
                  <a:gd name="T0" fmla="*/ 0 w 86"/>
                  <a:gd name="T1" fmla="*/ 95 h 114"/>
                  <a:gd name="T2" fmla="*/ 86 w 86"/>
                  <a:gd name="T3" fmla="*/ 0 h 114"/>
                  <a:gd name="T4" fmla="*/ 86 w 86"/>
                  <a:gd name="T5" fmla="*/ 19 h 114"/>
                  <a:gd name="T6" fmla="*/ 0 w 86"/>
                  <a:gd name="T7" fmla="*/ 114 h 114"/>
                  <a:gd name="T8" fmla="*/ 0 w 86"/>
                  <a:gd name="T9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114">
                    <a:moveTo>
                      <a:pt x="0" y="95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0" y="114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0" name="Freeform 776"/>
              <p:cNvSpPr>
                <a:spLocks/>
              </p:cNvSpPr>
              <p:nvPr/>
            </p:nvSpPr>
            <p:spPr bwMode="auto">
              <a:xfrm>
                <a:off x="7031967" y="4556385"/>
                <a:ext cx="64084" cy="81561"/>
              </a:xfrm>
              <a:custGeom>
                <a:avLst/>
                <a:gdLst>
                  <a:gd name="T0" fmla="*/ 0 w 86"/>
                  <a:gd name="T1" fmla="*/ 94 h 114"/>
                  <a:gd name="T2" fmla="*/ 86 w 86"/>
                  <a:gd name="T3" fmla="*/ 0 h 114"/>
                  <a:gd name="T4" fmla="*/ 86 w 86"/>
                  <a:gd name="T5" fmla="*/ 20 h 114"/>
                  <a:gd name="T6" fmla="*/ 0 w 86"/>
                  <a:gd name="T7" fmla="*/ 114 h 114"/>
                  <a:gd name="T8" fmla="*/ 0 w 86"/>
                  <a:gd name="T9" fmla="*/ 114 h 114"/>
                  <a:gd name="T10" fmla="*/ 0 w 86"/>
                  <a:gd name="T11" fmla="*/ 9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114">
                    <a:moveTo>
                      <a:pt x="0" y="94"/>
                    </a:moveTo>
                    <a:lnTo>
                      <a:pt x="86" y="0"/>
                    </a:lnTo>
                    <a:lnTo>
                      <a:pt x="86" y="20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1" name="Freeform 777"/>
              <p:cNvSpPr>
                <a:spLocks/>
              </p:cNvSpPr>
              <p:nvPr/>
            </p:nvSpPr>
            <p:spPr bwMode="auto">
              <a:xfrm>
                <a:off x="7031967" y="4562211"/>
                <a:ext cx="64084" cy="75735"/>
              </a:xfrm>
              <a:custGeom>
                <a:avLst/>
                <a:gdLst>
                  <a:gd name="T0" fmla="*/ 0 w 86"/>
                  <a:gd name="T1" fmla="*/ 95 h 105"/>
                  <a:gd name="T2" fmla="*/ 86 w 86"/>
                  <a:gd name="T3" fmla="*/ 0 h 105"/>
                  <a:gd name="T4" fmla="*/ 86 w 86"/>
                  <a:gd name="T5" fmla="*/ 21 h 105"/>
                  <a:gd name="T6" fmla="*/ 10 w 86"/>
                  <a:gd name="T7" fmla="*/ 105 h 105"/>
                  <a:gd name="T8" fmla="*/ 0 w 86"/>
                  <a:gd name="T9" fmla="*/ 105 h 105"/>
                  <a:gd name="T10" fmla="*/ 0 w 86"/>
                  <a:gd name="T11" fmla="*/ 9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6" h="105">
                    <a:moveTo>
                      <a:pt x="0" y="95"/>
                    </a:moveTo>
                    <a:lnTo>
                      <a:pt x="86" y="0"/>
                    </a:lnTo>
                    <a:lnTo>
                      <a:pt x="86" y="21"/>
                    </a:lnTo>
                    <a:lnTo>
                      <a:pt x="10" y="105"/>
                    </a:lnTo>
                    <a:lnTo>
                      <a:pt x="0" y="105"/>
                    </a:lnTo>
                    <a:lnTo>
                      <a:pt x="0" y="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2" name="Freeform 778"/>
              <p:cNvSpPr>
                <a:spLocks/>
              </p:cNvSpPr>
              <p:nvPr/>
            </p:nvSpPr>
            <p:spPr bwMode="auto">
              <a:xfrm>
                <a:off x="7031967" y="4570951"/>
                <a:ext cx="64084" cy="66997"/>
              </a:xfrm>
              <a:custGeom>
                <a:avLst/>
                <a:gdLst>
                  <a:gd name="T0" fmla="*/ 0 w 86"/>
                  <a:gd name="T1" fmla="*/ 94 h 94"/>
                  <a:gd name="T2" fmla="*/ 86 w 86"/>
                  <a:gd name="T3" fmla="*/ 0 h 94"/>
                  <a:gd name="T4" fmla="*/ 86 w 86"/>
                  <a:gd name="T5" fmla="*/ 19 h 94"/>
                  <a:gd name="T6" fmla="*/ 19 w 86"/>
                  <a:gd name="T7" fmla="*/ 94 h 94"/>
                  <a:gd name="T8" fmla="*/ 0 w 86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94">
                    <a:moveTo>
                      <a:pt x="0" y="94"/>
                    </a:moveTo>
                    <a:lnTo>
                      <a:pt x="86" y="0"/>
                    </a:lnTo>
                    <a:lnTo>
                      <a:pt x="86" y="19"/>
                    </a:lnTo>
                    <a:lnTo>
                      <a:pt x="19" y="94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3" name="Freeform 779"/>
              <p:cNvSpPr>
                <a:spLocks/>
              </p:cNvSpPr>
              <p:nvPr/>
            </p:nvSpPr>
            <p:spPr bwMode="auto">
              <a:xfrm>
                <a:off x="7040705" y="4576777"/>
                <a:ext cx="55346" cy="61172"/>
              </a:xfrm>
              <a:custGeom>
                <a:avLst/>
                <a:gdLst>
                  <a:gd name="T0" fmla="*/ 0 w 76"/>
                  <a:gd name="T1" fmla="*/ 84 h 84"/>
                  <a:gd name="T2" fmla="*/ 76 w 76"/>
                  <a:gd name="T3" fmla="*/ 0 h 84"/>
                  <a:gd name="T4" fmla="*/ 76 w 76"/>
                  <a:gd name="T5" fmla="*/ 19 h 84"/>
                  <a:gd name="T6" fmla="*/ 18 w 76"/>
                  <a:gd name="T7" fmla="*/ 84 h 84"/>
                  <a:gd name="T8" fmla="*/ 0 w 76"/>
                  <a:gd name="T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84">
                    <a:moveTo>
                      <a:pt x="0" y="84"/>
                    </a:moveTo>
                    <a:lnTo>
                      <a:pt x="76" y="0"/>
                    </a:lnTo>
                    <a:lnTo>
                      <a:pt x="76" y="19"/>
                    </a:lnTo>
                    <a:lnTo>
                      <a:pt x="18" y="84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4" name="Freeform 780"/>
              <p:cNvSpPr>
                <a:spLocks/>
              </p:cNvSpPr>
              <p:nvPr/>
            </p:nvSpPr>
            <p:spPr bwMode="auto">
              <a:xfrm>
                <a:off x="7046531" y="4585514"/>
                <a:ext cx="49520" cy="52432"/>
              </a:xfrm>
              <a:custGeom>
                <a:avLst/>
                <a:gdLst>
                  <a:gd name="T0" fmla="*/ 0 w 67"/>
                  <a:gd name="T1" fmla="*/ 75 h 75"/>
                  <a:gd name="T2" fmla="*/ 67 w 67"/>
                  <a:gd name="T3" fmla="*/ 0 h 75"/>
                  <a:gd name="T4" fmla="*/ 67 w 67"/>
                  <a:gd name="T5" fmla="*/ 21 h 75"/>
                  <a:gd name="T6" fmla="*/ 18 w 67"/>
                  <a:gd name="T7" fmla="*/ 75 h 75"/>
                  <a:gd name="T8" fmla="*/ 0 w 67"/>
                  <a:gd name="T9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75">
                    <a:moveTo>
                      <a:pt x="0" y="75"/>
                    </a:moveTo>
                    <a:lnTo>
                      <a:pt x="67" y="0"/>
                    </a:lnTo>
                    <a:lnTo>
                      <a:pt x="67" y="21"/>
                    </a:lnTo>
                    <a:lnTo>
                      <a:pt x="18" y="75"/>
                    </a:lnTo>
                    <a:lnTo>
                      <a:pt x="0" y="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5" name="Freeform 781"/>
              <p:cNvSpPr>
                <a:spLocks/>
              </p:cNvSpPr>
              <p:nvPr/>
            </p:nvSpPr>
            <p:spPr bwMode="auto">
              <a:xfrm>
                <a:off x="7052356" y="4591340"/>
                <a:ext cx="43694" cy="46606"/>
              </a:xfrm>
              <a:custGeom>
                <a:avLst/>
                <a:gdLst>
                  <a:gd name="T0" fmla="*/ 0 w 58"/>
                  <a:gd name="T1" fmla="*/ 65 h 65"/>
                  <a:gd name="T2" fmla="*/ 58 w 58"/>
                  <a:gd name="T3" fmla="*/ 0 h 65"/>
                  <a:gd name="T4" fmla="*/ 58 w 58"/>
                  <a:gd name="T5" fmla="*/ 20 h 65"/>
                  <a:gd name="T6" fmla="*/ 19 w 58"/>
                  <a:gd name="T7" fmla="*/ 65 h 65"/>
                  <a:gd name="T8" fmla="*/ 0 w 58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5">
                    <a:moveTo>
                      <a:pt x="0" y="65"/>
                    </a:moveTo>
                    <a:lnTo>
                      <a:pt x="58" y="0"/>
                    </a:lnTo>
                    <a:lnTo>
                      <a:pt x="58" y="20"/>
                    </a:lnTo>
                    <a:lnTo>
                      <a:pt x="19" y="65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6" name="Freeform 782"/>
              <p:cNvSpPr>
                <a:spLocks/>
              </p:cNvSpPr>
              <p:nvPr/>
            </p:nvSpPr>
            <p:spPr bwMode="auto">
              <a:xfrm>
                <a:off x="7058182" y="4600080"/>
                <a:ext cx="37869" cy="37869"/>
              </a:xfrm>
              <a:custGeom>
                <a:avLst/>
                <a:gdLst>
                  <a:gd name="T0" fmla="*/ 0 w 49"/>
                  <a:gd name="T1" fmla="*/ 54 h 54"/>
                  <a:gd name="T2" fmla="*/ 49 w 49"/>
                  <a:gd name="T3" fmla="*/ 0 h 54"/>
                  <a:gd name="T4" fmla="*/ 49 w 49"/>
                  <a:gd name="T5" fmla="*/ 19 h 54"/>
                  <a:gd name="T6" fmla="*/ 18 w 49"/>
                  <a:gd name="T7" fmla="*/ 54 h 54"/>
                  <a:gd name="T8" fmla="*/ 0 w 49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54">
                    <a:moveTo>
                      <a:pt x="0" y="54"/>
                    </a:moveTo>
                    <a:lnTo>
                      <a:pt x="49" y="0"/>
                    </a:lnTo>
                    <a:lnTo>
                      <a:pt x="49" y="19"/>
                    </a:lnTo>
                    <a:lnTo>
                      <a:pt x="18" y="54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7" name="Freeform 783"/>
              <p:cNvSpPr>
                <a:spLocks/>
              </p:cNvSpPr>
              <p:nvPr/>
            </p:nvSpPr>
            <p:spPr bwMode="auto">
              <a:xfrm>
                <a:off x="7066922" y="4605905"/>
                <a:ext cx="29129" cy="32043"/>
              </a:xfrm>
              <a:custGeom>
                <a:avLst/>
                <a:gdLst>
                  <a:gd name="T0" fmla="*/ 0 w 39"/>
                  <a:gd name="T1" fmla="*/ 45 h 45"/>
                  <a:gd name="T2" fmla="*/ 39 w 39"/>
                  <a:gd name="T3" fmla="*/ 0 h 45"/>
                  <a:gd name="T4" fmla="*/ 39 w 39"/>
                  <a:gd name="T5" fmla="*/ 21 h 45"/>
                  <a:gd name="T6" fmla="*/ 18 w 39"/>
                  <a:gd name="T7" fmla="*/ 45 h 45"/>
                  <a:gd name="T8" fmla="*/ 0 w 39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5">
                    <a:moveTo>
                      <a:pt x="0" y="45"/>
                    </a:moveTo>
                    <a:lnTo>
                      <a:pt x="39" y="0"/>
                    </a:lnTo>
                    <a:lnTo>
                      <a:pt x="39" y="21"/>
                    </a:lnTo>
                    <a:lnTo>
                      <a:pt x="18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8" name="Freeform 784"/>
              <p:cNvSpPr>
                <a:spLocks/>
              </p:cNvSpPr>
              <p:nvPr/>
            </p:nvSpPr>
            <p:spPr bwMode="auto">
              <a:xfrm>
                <a:off x="7072747" y="4614643"/>
                <a:ext cx="23303" cy="23303"/>
              </a:xfrm>
              <a:custGeom>
                <a:avLst/>
                <a:gdLst>
                  <a:gd name="T0" fmla="*/ 0 w 31"/>
                  <a:gd name="T1" fmla="*/ 35 h 35"/>
                  <a:gd name="T2" fmla="*/ 31 w 31"/>
                  <a:gd name="T3" fmla="*/ 0 h 35"/>
                  <a:gd name="T4" fmla="*/ 31 w 31"/>
                  <a:gd name="T5" fmla="*/ 21 h 35"/>
                  <a:gd name="T6" fmla="*/ 19 w 31"/>
                  <a:gd name="T7" fmla="*/ 35 h 35"/>
                  <a:gd name="T8" fmla="*/ 0 w 31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5">
                    <a:moveTo>
                      <a:pt x="0" y="35"/>
                    </a:moveTo>
                    <a:lnTo>
                      <a:pt x="31" y="0"/>
                    </a:lnTo>
                    <a:lnTo>
                      <a:pt x="31" y="21"/>
                    </a:lnTo>
                    <a:lnTo>
                      <a:pt x="19" y="35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9" name="Freeform 785"/>
              <p:cNvSpPr>
                <a:spLocks/>
              </p:cNvSpPr>
              <p:nvPr/>
            </p:nvSpPr>
            <p:spPr bwMode="auto">
              <a:xfrm>
                <a:off x="7078573" y="4620469"/>
                <a:ext cx="17477" cy="17477"/>
              </a:xfrm>
              <a:custGeom>
                <a:avLst/>
                <a:gdLst>
                  <a:gd name="T0" fmla="*/ 0 w 21"/>
                  <a:gd name="T1" fmla="*/ 24 h 24"/>
                  <a:gd name="T2" fmla="*/ 21 w 21"/>
                  <a:gd name="T3" fmla="*/ 0 h 24"/>
                  <a:gd name="T4" fmla="*/ 21 w 21"/>
                  <a:gd name="T5" fmla="*/ 19 h 24"/>
                  <a:gd name="T6" fmla="*/ 18 w 21"/>
                  <a:gd name="T7" fmla="*/ 24 h 24"/>
                  <a:gd name="T8" fmla="*/ 0 w 21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4">
                    <a:moveTo>
                      <a:pt x="0" y="24"/>
                    </a:moveTo>
                    <a:lnTo>
                      <a:pt x="21" y="0"/>
                    </a:lnTo>
                    <a:lnTo>
                      <a:pt x="21" y="19"/>
                    </a:lnTo>
                    <a:lnTo>
                      <a:pt x="18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0" name="Freeform 786"/>
              <p:cNvSpPr>
                <a:spLocks/>
              </p:cNvSpPr>
              <p:nvPr/>
            </p:nvSpPr>
            <p:spPr bwMode="auto">
              <a:xfrm>
                <a:off x="7084399" y="4629209"/>
                <a:ext cx="11652" cy="8740"/>
              </a:xfrm>
              <a:custGeom>
                <a:avLst/>
                <a:gdLst>
                  <a:gd name="T0" fmla="*/ 0 w 12"/>
                  <a:gd name="T1" fmla="*/ 14 h 14"/>
                  <a:gd name="T2" fmla="*/ 12 w 12"/>
                  <a:gd name="T3" fmla="*/ 0 h 14"/>
                  <a:gd name="T4" fmla="*/ 12 w 12"/>
                  <a:gd name="T5" fmla="*/ 14 h 14"/>
                  <a:gd name="T6" fmla="*/ 0 w 12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4">
                    <a:moveTo>
                      <a:pt x="0" y="14"/>
                    </a:moveTo>
                    <a:lnTo>
                      <a:pt x="12" y="0"/>
                    </a:lnTo>
                    <a:lnTo>
                      <a:pt x="12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1" name="Freeform 787"/>
              <p:cNvSpPr>
                <a:spLocks/>
              </p:cNvSpPr>
              <p:nvPr/>
            </p:nvSpPr>
            <p:spPr bwMode="auto">
              <a:xfrm>
                <a:off x="7093137" y="4635034"/>
                <a:ext cx="2914" cy="2914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3 w 3"/>
                  <a:gd name="T5" fmla="*/ 5 h 5"/>
                  <a:gd name="T6" fmla="*/ 0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3" y="0"/>
                    </a:lnTo>
                    <a:lnTo>
                      <a:pt x="3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2" name="Rectangle 788"/>
              <p:cNvSpPr>
                <a:spLocks noChangeArrowheads="1"/>
              </p:cNvSpPr>
              <p:nvPr/>
            </p:nvSpPr>
            <p:spPr bwMode="auto">
              <a:xfrm>
                <a:off x="7031967" y="4352483"/>
                <a:ext cx="64084" cy="285463"/>
              </a:xfrm>
              <a:prstGeom prst="rect">
                <a:avLst/>
              </a:prstGeom>
              <a:solidFill>
                <a:srgbClr val="FFFFFF"/>
              </a:solidFill>
              <a:ln w="4">
                <a:solidFill>
                  <a:srgbClr val="1F1A17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81" name="Freeform 789"/>
            <p:cNvSpPr>
              <a:spLocks/>
            </p:cNvSpPr>
            <p:nvPr/>
          </p:nvSpPr>
          <p:spPr bwMode="auto">
            <a:xfrm>
              <a:off x="710623" y="5055639"/>
              <a:ext cx="748614" cy="503931"/>
            </a:xfrm>
            <a:custGeom>
              <a:avLst/>
              <a:gdLst>
                <a:gd name="T0" fmla="*/ 0 w 1029"/>
                <a:gd name="T1" fmla="*/ 86 h 691"/>
                <a:gd name="T2" fmla="*/ 749 w 1029"/>
                <a:gd name="T3" fmla="*/ 423 h 691"/>
                <a:gd name="T4" fmla="*/ 753 w 1029"/>
                <a:gd name="T5" fmla="*/ 434 h 691"/>
                <a:gd name="T6" fmla="*/ 760 w 1029"/>
                <a:gd name="T7" fmla="*/ 443 h 691"/>
                <a:gd name="T8" fmla="*/ 768 w 1029"/>
                <a:gd name="T9" fmla="*/ 450 h 691"/>
                <a:gd name="T10" fmla="*/ 774 w 1029"/>
                <a:gd name="T11" fmla="*/ 477 h 691"/>
                <a:gd name="T12" fmla="*/ 776 w 1029"/>
                <a:gd name="T13" fmla="*/ 518 h 691"/>
                <a:gd name="T14" fmla="*/ 778 w 1029"/>
                <a:gd name="T15" fmla="*/ 537 h 691"/>
                <a:gd name="T16" fmla="*/ 783 w 1029"/>
                <a:gd name="T17" fmla="*/ 556 h 691"/>
                <a:gd name="T18" fmla="*/ 796 w 1029"/>
                <a:gd name="T19" fmla="*/ 588 h 691"/>
                <a:gd name="T20" fmla="*/ 820 w 1029"/>
                <a:gd name="T21" fmla="*/ 632 h 691"/>
                <a:gd name="T22" fmla="*/ 847 w 1029"/>
                <a:gd name="T23" fmla="*/ 671 h 691"/>
                <a:gd name="T24" fmla="*/ 862 w 1029"/>
                <a:gd name="T25" fmla="*/ 689 h 691"/>
                <a:gd name="T26" fmla="*/ 868 w 1029"/>
                <a:gd name="T27" fmla="*/ 691 h 691"/>
                <a:gd name="T28" fmla="*/ 873 w 1029"/>
                <a:gd name="T29" fmla="*/ 688 h 691"/>
                <a:gd name="T30" fmla="*/ 876 w 1029"/>
                <a:gd name="T31" fmla="*/ 680 h 691"/>
                <a:gd name="T32" fmla="*/ 878 w 1029"/>
                <a:gd name="T33" fmla="*/ 660 h 691"/>
                <a:gd name="T34" fmla="*/ 877 w 1029"/>
                <a:gd name="T35" fmla="*/ 622 h 691"/>
                <a:gd name="T36" fmla="*/ 873 w 1029"/>
                <a:gd name="T37" fmla="*/ 554 h 691"/>
                <a:gd name="T38" fmla="*/ 870 w 1029"/>
                <a:gd name="T39" fmla="*/ 494 h 691"/>
                <a:gd name="T40" fmla="*/ 872 w 1029"/>
                <a:gd name="T41" fmla="*/ 473 h 691"/>
                <a:gd name="T42" fmla="*/ 874 w 1029"/>
                <a:gd name="T43" fmla="*/ 464 h 691"/>
                <a:gd name="T44" fmla="*/ 883 w 1029"/>
                <a:gd name="T45" fmla="*/ 452 h 691"/>
                <a:gd name="T46" fmla="*/ 890 w 1029"/>
                <a:gd name="T47" fmla="*/ 436 h 691"/>
                <a:gd name="T48" fmla="*/ 891 w 1029"/>
                <a:gd name="T49" fmla="*/ 420 h 691"/>
                <a:gd name="T50" fmla="*/ 888 w 1029"/>
                <a:gd name="T51" fmla="*/ 405 h 691"/>
                <a:gd name="T52" fmla="*/ 883 w 1029"/>
                <a:gd name="T53" fmla="*/ 391 h 691"/>
                <a:gd name="T54" fmla="*/ 881 w 1029"/>
                <a:gd name="T55" fmla="*/ 378 h 691"/>
                <a:gd name="T56" fmla="*/ 882 w 1029"/>
                <a:gd name="T57" fmla="*/ 367 h 691"/>
                <a:gd name="T58" fmla="*/ 892 w 1029"/>
                <a:gd name="T59" fmla="*/ 359 h 691"/>
                <a:gd name="T60" fmla="*/ 901 w 1029"/>
                <a:gd name="T61" fmla="*/ 348 h 691"/>
                <a:gd name="T62" fmla="*/ 904 w 1029"/>
                <a:gd name="T63" fmla="*/ 340 h 691"/>
                <a:gd name="T64" fmla="*/ 908 w 1029"/>
                <a:gd name="T65" fmla="*/ 336 h 691"/>
                <a:gd name="T66" fmla="*/ 912 w 1029"/>
                <a:gd name="T67" fmla="*/ 333 h 691"/>
                <a:gd name="T68" fmla="*/ 918 w 1029"/>
                <a:gd name="T69" fmla="*/ 320 h 691"/>
                <a:gd name="T70" fmla="*/ 932 w 1029"/>
                <a:gd name="T71" fmla="*/ 300 h 691"/>
                <a:gd name="T72" fmla="*/ 961 w 1029"/>
                <a:gd name="T73" fmla="*/ 269 h 691"/>
                <a:gd name="T74" fmla="*/ 1002 w 1029"/>
                <a:gd name="T75" fmla="*/ 230 h 691"/>
                <a:gd name="T76" fmla="*/ 1023 w 1029"/>
                <a:gd name="T77" fmla="*/ 204 h 691"/>
                <a:gd name="T78" fmla="*/ 1029 w 1029"/>
                <a:gd name="T79" fmla="*/ 193 h 691"/>
                <a:gd name="T80" fmla="*/ 1029 w 1029"/>
                <a:gd name="T81" fmla="*/ 186 h 691"/>
                <a:gd name="T82" fmla="*/ 1022 w 1029"/>
                <a:gd name="T83" fmla="*/ 182 h 691"/>
                <a:gd name="T84" fmla="*/ 1010 w 1029"/>
                <a:gd name="T85" fmla="*/ 187 h 691"/>
                <a:gd name="T86" fmla="*/ 991 w 1029"/>
                <a:gd name="T87" fmla="*/ 192 h 691"/>
                <a:gd name="T88" fmla="*/ 967 w 1029"/>
                <a:gd name="T89" fmla="*/ 211 h 691"/>
                <a:gd name="T90" fmla="*/ 914 w 1029"/>
                <a:gd name="T91" fmla="*/ 257 h 691"/>
                <a:gd name="T92" fmla="*/ 858 w 1029"/>
                <a:gd name="T93" fmla="*/ 309 h 691"/>
                <a:gd name="T94" fmla="*/ 836 w 1029"/>
                <a:gd name="T95" fmla="*/ 333 h 691"/>
                <a:gd name="T96" fmla="*/ 823 w 1029"/>
                <a:gd name="T97" fmla="*/ 352 h 691"/>
                <a:gd name="T98" fmla="*/ 802 w 1029"/>
                <a:gd name="T99" fmla="*/ 348 h 691"/>
                <a:gd name="T100" fmla="*/ 781 w 1029"/>
                <a:gd name="T101" fmla="*/ 351 h 691"/>
                <a:gd name="T102" fmla="*/ 765 w 1029"/>
                <a:gd name="T103" fmla="*/ 36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9" h="691">
                  <a:moveTo>
                    <a:pt x="67" y="0"/>
                  </a:moveTo>
                  <a:lnTo>
                    <a:pt x="0" y="86"/>
                  </a:lnTo>
                  <a:lnTo>
                    <a:pt x="747" y="418"/>
                  </a:lnTo>
                  <a:lnTo>
                    <a:pt x="749" y="423"/>
                  </a:lnTo>
                  <a:lnTo>
                    <a:pt x="751" y="429"/>
                  </a:lnTo>
                  <a:lnTo>
                    <a:pt x="753" y="434"/>
                  </a:lnTo>
                  <a:lnTo>
                    <a:pt x="756" y="438"/>
                  </a:lnTo>
                  <a:lnTo>
                    <a:pt x="760" y="443"/>
                  </a:lnTo>
                  <a:lnTo>
                    <a:pt x="764" y="446"/>
                  </a:lnTo>
                  <a:lnTo>
                    <a:pt x="768" y="450"/>
                  </a:lnTo>
                  <a:lnTo>
                    <a:pt x="774" y="452"/>
                  </a:lnTo>
                  <a:lnTo>
                    <a:pt x="774" y="477"/>
                  </a:lnTo>
                  <a:lnTo>
                    <a:pt x="775" y="500"/>
                  </a:lnTo>
                  <a:lnTo>
                    <a:pt x="776" y="518"/>
                  </a:lnTo>
                  <a:lnTo>
                    <a:pt x="777" y="530"/>
                  </a:lnTo>
                  <a:lnTo>
                    <a:pt x="778" y="537"/>
                  </a:lnTo>
                  <a:lnTo>
                    <a:pt x="780" y="546"/>
                  </a:lnTo>
                  <a:lnTo>
                    <a:pt x="783" y="556"/>
                  </a:lnTo>
                  <a:lnTo>
                    <a:pt x="787" y="566"/>
                  </a:lnTo>
                  <a:lnTo>
                    <a:pt x="796" y="588"/>
                  </a:lnTo>
                  <a:lnTo>
                    <a:pt x="808" y="609"/>
                  </a:lnTo>
                  <a:lnTo>
                    <a:pt x="820" y="632"/>
                  </a:lnTo>
                  <a:lnTo>
                    <a:pt x="834" y="652"/>
                  </a:lnTo>
                  <a:lnTo>
                    <a:pt x="847" y="671"/>
                  </a:lnTo>
                  <a:lnTo>
                    <a:pt x="859" y="685"/>
                  </a:lnTo>
                  <a:lnTo>
                    <a:pt x="862" y="689"/>
                  </a:lnTo>
                  <a:lnTo>
                    <a:pt x="865" y="691"/>
                  </a:lnTo>
                  <a:lnTo>
                    <a:pt x="868" y="691"/>
                  </a:lnTo>
                  <a:lnTo>
                    <a:pt x="872" y="691"/>
                  </a:lnTo>
                  <a:lnTo>
                    <a:pt x="873" y="688"/>
                  </a:lnTo>
                  <a:lnTo>
                    <a:pt x="875" y="685"/>
                  </a:lnTo>
                  <a:lnTo>
                    <a:pt x="876" y="680"/>
                  </a:lnTo>
                  <a:lnTo>
                    <a:pt x="877" y="674"/>
                  </a:lnTo>
                  <a:lnTo>
                    <a:pt x="878" y="660"/>
                  </a:lnTo>
                  <a:lnTo>
                    <a:pt x="878" y="642"/>
                  </a:lnTo>
                  <a:lnTo>
                    <a:pt x="877" y="622"/>
                  </a:lnTo>
                  <a:lnTo>
                    <a:pt x="876" y="600"/>
                  </a:lnTo>
                  <a:lnTo>
                    <a:pt x="873" y="554"/>
                  </a:lnTo>
                  <a:lnTo>
                    <a:pt x="870" y="513"/>
                  </a:lnTo>
                  <a:lnTo>
                    <a:pt x="870" y="494"/>
                  </a:lnTo>
                  <a:lnTo>
                    <a:pt x="870" y="479"/>
                  </a:lnTo>
                  <a:lnTo>
                    <a:pt x="872" y="473"/>
                  </a:lnTo>
                  <a:lnTo>
                    <a:pt x="873" y="467"/>
                  </a:lnTo>
                  <a:lnTo>
                    <a:pt x="874" y="464"/>
                  </a:lnTo>
                  <a:lnTo>
                    <a:pt x="876" y="461"/>
                  </a:lnTo>
                  <a:lnTo>
                    <a:pt x="883" y="452"/>
                  </a:lnTo>
                  <a:lnTo>
                    <a:pt x="888" y="445"/>
                  </a:lnTo>
                  <a:lnTo>
                    <a:pt x="890" y="436"/>
                  </a:lnTo>
                  <a:lnTo>
                    <a:pt x="891" y="429"/>
                  </a:lnTo>
                  <a:lnTo>
                    <a:pt x="891" y="420"/>
                  </a:lnTo>
                  <a:lnTo>
                    <a:pt x="889" y="413"/>
                  </a:lnTo>
                  <a:lnTo>
                    <a:pt x="888" y="405"/>
                  </a:lnTo>
                  <a:lnTo>
                    <a:pt x="886" y="397"/>
                  </a:lnTo>
                  <a:lnTo>
                    <a:pt x="883" y="391"/>
                  </a:lnTo>
                  <a:lnTo>
                    <a:pt x="881" y="385"/>
                  </a:lnTo>
                  <a:lnTo>
                    <a:pt x="881" y="378"/>
                  </a:lnTo>
                  <a:lnTo>
                    <a:pt x="881" y="373"/>
                  </a:lnTo>
                  <a:lnTo>
                    <a:pt x="882" y="367"/>
                  </a:lnTo>
                  <a:lnTo>
                    <a:pt x="887" y="363"/>
                  </a:lnTo>
                  <a:lnTo>
                    <a:pt x="892" y="359"/>
                  </a:lnTo>
                  <a:lnTo>
                    <a:pt x="901" y="356"/>
                  </a:lnTo>
                  <a:lnTo>
                    <a:pt x="901" y="348"/>
                  </a:lnTo>
                  <a:lnTo>
                    <a:pt x="902" y="343"/>
                  </a:lnTo>
                  <a:lnTo>
                    <a:pt x="904" y="340"/>
                  </a:lnTo>
                  <a:lnTo>
                    <a:pt x="906" y="338"/>
                  </a:lnTo>
                  <a:lnTo>
                    <a:pt x="908" y="336"/>
                  </a:lnTo>
                  <a:lnTo>
                    <a:pt x="910" y="335"/>
                  </a:lnTo>
                  <a:lnTo>
                    <a:pt x="912" y="333"/>
                  </a:lnTo>
                  <a:lnTo>
                    <a:pt x="914" y="330"/>
                  </a:lnTo>
                  <a:lnTo>
                    <a:pt x="918" y="320"/>
                  </a:lnTo>
                  <a:lnTo>
                    <a:pt x="924" y="309"/>
                  </a:lnTo>
                  <a:lnTo>
                    <a:pt x="932" y="300"/>
                  </a:lnTo>
                  <a:lnTo>
                    <a:pt x="940" y="289"/>
                  </a:lnTo>
                  <a:lnTo>
                    <a:pt x="961" y="269"/>
                  </a:lnTo>
                  <a:lnTo>
                    <a:pt x="982" y="249"/>
                  </a:lnTo>
                  <a:lnTo>
                    <a:pt x="1002" y="230"/>
                  </a:lnTo>
                  <a:lnTo>
                    <a:pt x="1018" y="212"/>
                  </a:lnTo>
                  <a:lnTo>
                    <a:pt x="1023" y="204"/>
                  </a:lnTo>
                  <a:lnTo>
                    <a:pt x="1028" y="196"/>
                  </a:lnTo>
                  <a:lnTo>
                    <a:pt x="1029" y="193"/>
                  </a:lnTo>
                  <a:lnTo>
                    <a:pt x="1029" y="190"/>
                  </a:lnTo>
                  <a:lnTo>
                    <a:pt x="1029" y="186"/>
                  </a:lnTo>
                  <a:lnTo>
                    <a:pt x="1029" y="183"/>
                  </a:lnTo>
                  <a:lnTo>
                    <a:pt x="1022" y="182"/>
                  </a:lnTo>
                  <a:lnTo>
                    <a:pt x="1017" y="185"/>
                  </a:lnTo>
                  <a:lnTo>
                    <a:pt x="1010" y="187"/>
                  </a:lnTo>
                  <a:lnTo>
                    <a:pt x="1005" y="189"/>
                  </a:lnTo>
                  <a:lnTo>
                    <a:pt x="991" y="192"/>
                  </a:lnTo>
                  <a:lnTo>
                    <a:pt x="984" y="197"/>
                  </a:lnTo>
                  <a:lnTo>
                    <a:pt x="967" y="211"/>
                  </a:lnTo>
                  <a:lnTo>
                    <a:pt x="943" y="232"/>
                  </a:lnTo>
                  <a:lnTo>
                    <a:pt x="914" y="257"/>
                  </a:lnTo>
                  <a:lnTo>
                    <a:pt x="884" y="282"/>
                  </a:lnTo>
                  <a:lnTo>
                    <a:pt x="858" y="309"/>
                  </a:lnTo>
                  <a:lnTo>
                    <a:pt x="846" y="321"/>
                  </a:lnTo>
                  <a:lnTo>
                    <a:pt x="836" y="333"/>
                  </a:lnTo>
                  <a:lnTo>
                    <a:pt x="829" y="344"/>
                  </a:lnTo>
                  <a:lnTo>
                    <a:pt x="823" y="352"/>
                  </a:lnTo>
                  <a:lnTo>
                    <a:pt x="812" y="349"/>
                  </a:lnTo>
                  <a:lnTo>
                    <a:pt x="802" y="348"/>
                  </a:lnTo>
                  <a:lnTo>
                    <a:pt x="791" y="349"/>
                  </a:lnTo>
                  <a:lnTo>
                    <a:pt x="781" y="351"/>
                  </a:lnTo>
                  <a:lnTo>
                    <a:pt x="773" y="356"/>
                  </a:lnTo>
                  <a:lnTo>
                    <a:pt x="765" y="36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Freeform 790"/>
            <p:cNvSpPr>
              <a:spLocks/>
            </p:cNvSpPr>
            <p:nvPr/>
          </p:nvSpPr>
          <p:spPr bwMode="auto">
            <a:xfrm>
              <a:off x="710623" y="5055639"/>
              <a:ext cx="748614" cy="503931"/>
            </a:xfrm>
            <a:custGeom>
              <a:avLst/>
              <a:gdLst>
                <a:gd name="T0" fmla="*/ 0 w 1029"/>
                <a:gd name="T1" fmla="*/ 86 h 691"/>
                <a:gd name="T2" fmla="*/ 749 w 1029"/>
                <a:gd name="T3" fmla="*/ 423 h 691"/>
                <a:gd name="T4" fmla="*/ 753 w 1029"/>
                <a:gd name="T5" fmla="*/ 434 h 691"/>
                <a:gd name="T6" fmla="*/ 760 w 1029"/>
                <a:gd name="T7" fmla="*/ 443 h 691"/>
                <a:gd name="T8" fmla="*/ 768 w 1029"/>
                <a:gd name="T9" fmla="*/ 450 h 691"/>
                <a:gd name="T10" fmla="*/ 774 w 1029"/>
                <a:gd name="T11" fmla="*/ 477 h 691"/>
                <a:gd name="T12" fmla="*/ 776 w 1029"/>
                <a:gd name="T13" fmla="*/ 518 h 691"/>
                <a:gd name="T14" fmla="*/ 778 w 1029"/>
                <a:gd name="T15" fmla="*/ 537 h 691"/>
                <a:gd name="T16" fmla="*/ 783 w 1029"/>
                <a:gd name="T17" fmla="*/ 556 h 691"/>
                <a:gd name="T18" fmla="*/ 796 w 1029"/>
                <a:gd name="T19" fmla="*/ 588 h 691"/>
                <a:gd name="T20" fmla="*/ 820 w 1029"/>
                <a:gd name="T21" fmla="*/ 632 h 691"/>
                <a:gd name="T22" fmla="*/ 847 w 1029"/>
                <a:gd name="T23" fmla="*/ 671 h 691"/>
                <a:gd name="T24" fmla="*/ 862 w 1029"/>
                <a:gd name="T25" fmla="*/ 689 h 691"/>
                <a:gd name="T26" fmla="*/ 868 w 1029"/>
                <a:gd name="T27" fmla="*/ 691 h 691"/>
                <a:gd name="T28" fmla="*/ 873 w 1029"/>
                <a:gd name="T29" fmla="*/ 688 h 691"/>
                <a:gd name="T30" fmla="*/ 876 w 1029"/>
                <a:gd name="T31" fmla="*/ 680 h 691"/>
                <a:gd name="T32" fmla="*/ 878 w 1029"/>
                <a:gd name="T33" fmla="*/ 660 h 691"/>
                <a:gd name="T34" fmla="*/ 877 w 1029"/>
                <a:gd name="T35" fmla="*/ 622 h 691"/>
                <a:gd name="T36" fmla="*/ 873 w 1029"/>
                <a:gd name="T37" fmla="*/ 554 h 691"/>
                <a:gd name="T38" fmla="*/ 870 w 1029"/>
                <a:gd name="T39" fmla="*/ 494 h 691"/>
                <a:gd name="T40" fmla="*/ 872 w 1029"/>
                <a:gd name="T41" fmla="*/ 473 h 691"/>
                <a:gd name="T42" fmla="*/ 874 w 1029"/>
                <a:gd name="T43" fmla="*/ 464 h 691"/>
                <a:gd name="T44" fmla="*/ 883 w 1029"/>
                <a:gd name="T45" fmla="*/ 452 h 691"/>
                <a:gd name="T46" fmla="*/ 890 w 1029"/>
                <a:gd name="T47" fmla="*/ 436 h 691"/>
                <a:gd name="T48" fmla="*/ 891 w 1029"/>
                <a:gd name="T49" fmla="*/ 420 h 691"/>
                <a:gd name="T50" fmla="*/ 888 w 1029"/>
                <a:gd name="T51" fmla="*/ 405 h 691"/>
                <a:gd name="T52" fmla="*/ 883 w 1029"/>
                <a:gd name="T53" fmla="*/ 391 h 691"/>
                <a:gd name="T54" fmla="*/ 881 w 1029"/>
                <a:gd name="T55" fmla="*/ 378 h 691"/>
                <a:gd name="T56" fmla="*/ 882 w 1029"/>
                <a:gd name="T57" fmla="*/ 367 h 691"/>
                <a:gd name="T58" fmla="*/ 892 w 1029"/>
                <a:gd name="T59" fmla="*/ 359 h 691"/>
                <a:gd name="T60" fmla="*/ 901 w 1029"/>
                <a:gd name="T61" fmla="*/ 348 h 691"/>
                <a:gd name="T62" fmla="*/ 904 w 1029"/>
                <a:gd name="T63" fmla="*/ 340 h 691"/>
                <a:gd name="T64" fmla="*/ 908 w 1029"/>
                <a:gd name="T65" fmla="*/ 336 h 691"/>
                <a:gd name="T66" fmla="*/ 912 w 1029"/>
                <a:gd name="T67" fmla="*/ 333 h 691"/>
                <a:gd name="T68" fmla="*/ 918 w 1029"/>
                <a:gd name="T69" fmla="*/ 320 h 691"/>
                <a:gd name="T70" fmla="*/ 932 w 1029"/>
                <a:gd name="T71" fmla="*/ 300 h 691"/>
                <a:gd name="T72" fmla="*/ 961 w 1029"/>
                <a:gd name="T73" fmla="*/ 269 h 691"/>
                <a:gd name="T74" fmla="*/ 1002 w 1029"/>
                <a:gd name="T75" fmla="*/ 230 h 691"/>
                <a:gd name="T76" fmla="*/ 1023 w 1029"/>
                <a:gd name="T77" fmla="*/ 204 h 691"/>
                <a:gd name="T78" fmla="*/ 1029 w 1029"/>
                <a:gd name="T79" fmla="*/ 193 h 691"/>
                <a:gd name="T80" fmla="*/ 1029 w 1029"/>
                <a:gd name="T81" fmla="*/ 186 h 691"/>
                <a:gd name="T82" fmla="*/ 1022 w 1029"/>
                <a:gd name="T83" fmla="*/ 182 h 691"/>
                <a:gd name="T84" fmla="*/ 1010 w 1029"/>
                <a:gd name="T85" fmla="*/ 187 h 691"/>
                <a:gd name="T86" fmla="*/ 991 w 1029"/>
                <a:gd name="T87" fmla="*/ 192 h 691"/>
                <a:gd name="T88" fmla="*/ 967 w 1029"/>
                <a:gd name="T89" fmla="*/ 211 h 691"/>
                <a:gd name="T90" fmla="*/ 914 w 1029"/>
                <a:gd name="T91" fmla="*/ 257 h 691"/>
                <a:gd name="T92" fmla="*/ 858 w 1029"/>
                <a:gd name="T93" fmla="*/ 309 h 691"/>
                <a:gd name="T94" fmla="*/ 836 w 1029"/>
                <a:gd name="T95" fmla="*/ 333 h 691"/>
                <a:gd name="T96" fmla="*/ 823 w 1029"/>
                <a:gd name="T97" fmla="*/ 352 h 691"/>
                <a:gd name="T98" fmla="*/ 802 w 1029"/>
                <a:gd name="T99" fmla="*/ 348 h 691"/>
                <a:gd name="T100" fmla="*/ 781 w 1029"/>
                <a:gd name="T101" fmla="*/ 351 h 691"/>
                <a:gd name="T102" fmla="*/ 765 w 1029"/>
                <a:gd name="T103" fmla="*/ 36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29" h="691">
                  <a:moveTo>
                    <a:pt x="67" y="0"/>
                  </a:moveTo>
                  <a:lnTo>
                    <a:pt x="0" y="86"/>
                  </a:lnTo>
                  <a:lnTo>
                    <a:pt x="747" y="418"/>
                  </a:lnTo>
                  <a:lnTo>
                    <a:pt x="749" y="423"/>
                  </a:lnTo>
                  <a:lnTo>
                    <a:pt x="751" y="429"/>
                  </a:lnTo>
                  <a:lnTo>
                    <a:pt x="753" y="434"/>
                  </a:lnTo>
                  <a:lnTo>
                    <a:pt x="756" y="438"/>
                  </a:lnTo>
                  <a:lnTo>
                    <a:pt x="760" y="443"/>
                  </a:lnTo>
                  <a:lnTo>
                    <a:pt x="764" y="446"/>
                  </a:lnTo>
                  <a:lnTo>
                    <a:pt x="768" y="450"/>
                  </a:lnTo>
                  <a:lnTo>
                    <a:pt x="774" y="452"/>
                  </a:lnTo>
                  <a:lnTo>
                    <a:pt x="774" y="477"/>
                  </a:lnTo>
                  <a:lnTo>
                    <a:pt x="775" y="500"/>
                  </a:lnTo>
                  <a:lnTo>
                    <a:pt x="776" y="518"/>
                  </a:lnTo>
                  <a:lnTo>
                    <a:pt x="777" y="530"/>
                  </a:lnTo>
                  <a:lnTo>
                    <a:pt x="778" y="537"/>
                  </a:lnTo>
                  <a:lnTo>
                    <a:pt x="780" y="546"/>
                  </a:lnTo>
                  <a:lnTo>
                    <a:pt x="783" y="556"/>
                  </a:lnTo>
                  <a:lnTo>
                    <a:pt x="787" y="566"/>
                  </a:lnTo>
                  <a:lnTo>
                    <a:pt x="796" y="588"/>
                  </a:lnTo>
                  <a:lnTo>
                    <a:pt x="808" y="609"/>
                  </a:lnTo>
                  <a:lnTo>
                    <a:pt x="820" y="632"/>
                  </a:lnTo>
                  <a:lnTo>
                    <a:pt x="834" y="652"/>
                  </a:lnTo>
                  <a:lnTo>
                    <a:pt x="847" y="671"/>
                  </a:lnTo>
                  <a:lnTo>
                    <a:pt x="859" y="685"/>
                  </a:lnTo>
                  <a:lnTo>
                    <a:pt x="862" y="689"/>
                  </a:lnTo>
                  <a:lnTo>
                    <a:pt x="865" y="691"/>
                  </a:lnTo>
                  <a:lnTo>
                    <a:pt x="868" y="691"/>
                  </a:lnTo>
                  <a:lnTo>
                    <a:pt x="872" y="691"/>
                  </a:lnTo>
                  <a:lnTo>
                    <a:pt x="873" y="688"/>
                  </a:lnTo>
                  <a:lnTo>
                    <a:pt x="875" y="685"/>
                  </a:lnTo>
                  <a:lnTo>
                    <a:pt x="876" y="680"/>
                  </a:lnTo>
                  <a:lnTo>
                    <a:pt x="877" y="674"/>
                  </a:lnTo>
                  <a:lnTo>
                    <a:pt x="878" y="660"/>
                  </a:lnTo>
                  <a:lnTo>
                    <a:pt x="878" y="642"/>
                  </a:lnTo>
                  <a:lnTo>
                    <a:pt x="877" y="622"/>
                  </a:lnTo>
                  <a:lnTo>
                    <a:pt x="876" y="600"/>
                  </a:lnTo>
                  <a:lnTo>
                    <a:pt x="873" y="554"/>
                  </a:lnTo>
                  <a:lnTo>
                    <a:pt x="870" y="513"/>
                  </a:lnTo>
                  <a:lnTo>
                    <a:pt x="870" y="494"/>
                  </a:lnTo>
                  <a:lnTo>
                    <a:pt x="870" y="479"/>
                  </a:lnTo>
                  <a:lnTo>
                    <a:pt x="872" y="473"/>
                  </a:lnTo>
                  <a:lnTo>
                    <a:pt x="873" y="467"/>
                  </a:lnTo>
                  <a:lnTo>
                    <a:pt x="874" y="464"/>
                  </a:lnTo>
                  <a:lnTo>
                    <a:pt x="876" y="461"/>
                  </a:lnTo>
                  <a:lnTo>
                    <a:pt x="883" y="452"/>
                  </a:lnTo>
                  <a:lnTo>
                    <a:pt x="888" y="445"/>
                  </a:lnTo>
                  <a:lnTo>
                    <a:pt x="890" y="436"/>
                  </a:lnTo>
                  <a:lnTo>
                    <a:pt x="891" y="429"/>
                  </a:lnTo>
                  <a:lnTo>
                    <a:pt x="891" y="420"/>
                  </a:lnTo>
                  <a:lnTo>
                    <a:pt x="889" y="413"/>
                  </a:lnTo>
                  <a:lnTo>
                    <a:pt x="888" y="405"/>
                  </a:lnTo>
                  <a:lnTo>
                    <a:pt x="886" y="397"/>
                  </a:lnTo>
                  <a:lnTo>
                    <a:pt x="883" y="391"/>
                  </a:lnTo>
                  <a:lnTo>
                    <a:pt x="881" y="385"/>
                  </a:lnTo>
                  <a:lnTo>
                    <a:pt x="881" y="378"/>
                  </a:lnTo>
                  <a:lnTo>
                    <a:pt x="881" y="373"/>
                  </a:lnTo>
                  <a:lnTo>
                    <a:pt x="882" y="367"/>
                  </a:lnTo>
                  <a:lnTo>
                    <a:pt x="887" y="363"/>
                  </a:lnTo>
                  <a:lnTo>
                    <a:pt x="892" y="359"/>
                  </a:lnTo>
                  <a:lnTo>
                    <a:pt x="901" y="356"/>
                  </a:lnTo>
                  <a:lnTo>
                    <a:pt x="901" y="348"/>
                  </a:lnTo>
                  <a:lnTo>
                    <a:pt x="902" y="343"/>
                  </a:lnTo>
                  <a:lnTo>
                    <a:pt x="904" y="340"/>
                  </a:lnTo>
                  <a:lnTo>
                    <a:pt x="906" y="338"/>
                  </a:lnTo>
                  <a:lnTo>
                    <a:pt x="908" y="336"/>
                  </a:lnTo>
                  <a:lnTo>
                    <a:pt x="910" y="335"/>
                  </a:lnTo>
                  <a:lnTo>
                    <a:pt x="912" y="333"/>
                  </a:lnTo>
                  <a:lnTo>
                    <a:pt x="914" y="330"/>
                  </a:lnTo>
                  <a:lnTo>
                    <a:pt x="918" y="320"/>
                  </a:lnTo>
                  <a:lnTo>
                    <a:pt x="924" y="309"/>
                  </a:lnTo>
                  <a:lnTo>
                    <a:pt x="932" y="300"/>
                  </a:lnTo>
                  <a:lnTo>
                    <a:pt x="940" y="289"/>
                  </a:lnTo>
                  <a:lnTo>
                    <a:pt x="961" y="269"/>
                  </a:lnTo>
                  <a:lnTo>
                    <a:pt x="982" y="249"/>
                  </a:lnTo>
                  <a:lnTo>
                    <a:pt x="1002" y="230"/>
                  </a:lnTo>
                  <a:lnTo>
                    <a:pt x="1018" y="212"/>
                  </a:lnTo>
                  <a:lnTo>
                    <a:pt x="1023" y="204"/>
                  </a:lnTo>
                  <a:lnTo>
                    <a:pt x="1028" y="196"/>
                  </a:lnTo>
                  <a:lnTo>
                    <a:pt x="1029" y="193"/>
                  </a:lnTo>
                  <a:lnTo>
                    <a:pt x="1029" y="190"/>
                  </a:lnTo>
                  <a:lnTo>
                    <a:pt x="1029" y="186"/>
                  </a:lnTo>
                  <a:lnTo>
                    <a:pt x="1029" y="183"/>
                  </a:lnTo>
                  <a:lnTo>
                    <a:pt x="1022" y="182"/>
                  </a:lnTo>
                  <a:lnTo>
                    <a:pt x="1017" y="185"/>
                  </a:lnTo>
                  <a:lnTo>
                    <a:pt x="1010" y="187"/>
                  </a:lnTo>
                  <a:lnTo>
                    <a:pt x="1005" y="189"/>
                  </a:lnTo>
                  <a:lnTo>
                    <a:pt x="991" y="192"/>
                  </a:lnTo>
                  <a:lnTo>
                    <a:pt x="984" y="197"/>
                  </a:lnTo>
                  <a:lnTo>
                    <a:pt x="967" y="211"/>
                  </a:lnTo>
                  <a:lnTo>
                    <a:pt x="943" y="232"/>
                  </a:lnTo>
                  <a:lnTo>
                    <a:pt x="914" y="257"/>
                  </a:lnTo>
                  <a:lnTo>
                    <a:pt x="884" y="282"/>
                  </a:lnTo>
                  <a:lnTo>
                    <a:pt x="858" y="309"/>
                  </a:lnTo>
                  <a:lnTo>
                    <a:pt x="846" y="321"/>
                  </a:lnTo>
                  <a:lnTo>
                    <a:pt x="836" y="333"/>
                  </a:lnTo>
                  <a:lnTo>
                    <a:pt x="829" y="344"/>
                  </a:lnTo>
                  <a:lnTo>
                    <a:pt x="823" y="352"/>
                  </a:lnTo>
                  <a:lnTo>
                    <a:pt x="812" y="349"/>
                  </a:lnTo>
                  <a:lnTo>
                    <a:pt x="802" y="348"/>
                  </a:lnTo>
                  <a:lnTo>
                    <a:pt x="791" y="349"/>
                  </a:lnTo>
                  <a:lnTo>
                    <a:pt x="781" y="351"/>
                  </a:lnTo>
                  <a:lnTo>
                    <a:pt x="773" y="356"/>
                  </a:lnTo>
                  <a:lnTo>
                    <a:pt x="765" y="361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chemeClr val="bg1"/>
            </a:solidFill>
            <a:ln w="4">
              <a:solidFill>
                <a:srgbClr val="1F1A1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Rectangle 792"/>
            <p:cNvSpPr>
              <a:spLocks noChangeArrowheads="1"/>
            </p:cNvSpPr>
            <p:nvPr/>
          </p:nvSpPr>
          <p:spPr bwMode="auto">
            <a:xfrm>
              <a:off x="1668963" y="5309062"/>
              <a:ext cx="381590" cy="22138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7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The </a:t>
              </a: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Right Brace 10"/>
          <p:cNvSpPr/>
          <p:nvPr/>
        </p:nvSpPr>
        <p:spPr>
          <a:xfrm>
            <a:off x="1538219" y="4212342"/>
            <a:ext cx="235424" cy="15585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3" name="Right Brace 592"/>
          <p:cNvSpPr/>
          <p:nvPr/>
        </p:nvSpPr>
        <p:spPr>
          <a:xfrm>
            <a:off x="1600200" y="2455425"/>
            <a:ext cx="173154" cy="129449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4" name="Right Brace 593"/>
          <p:cNvSpPr/>
          <p:nvPr/>
        </p:nvSpPr>
        <p:spPr>
          <a:xfrm>
            <a:off x="1600200" y="423897"/>
            <a:ext cx="196755" cy="170970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5" name="TextBox 594"/>
          <p:cNvSpPr txBox="1"/>
          <p:nvPr/>
        </p:nvSpPr>
        <p:spPr>
          <a:xfrm>
            <a:off x="77908" y="-177463"/>
            <a:ext cx="29206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1" dirty="0">
              <a:latin typeface="Arial Narrow" pitchFamily="34" charset="0"/>
            </a:endParaRPr>
          </a:p>
          <a:p>
            <a:r>
              <a:rPr lang="en-US" sz="2000" b="1" dirty="0">
                <a:latin typeface="Arial Narrow" pitchFamily="34" charset="0"/>
              </a:rPr>
              <a:t>Discussions </a:t>
            </a:r>
          </a:p>
          <a:p>
            <a:r>
              <a:rPr lang="en-US" sz="2000" b="1" dirty="0">
                <a:latin typeface="Arial Narrow" pitchFamily="34" charset="0"/>
              </a:rPr>
              <a:t>&amp; Decisions</a:t>
            </a:r>
          </a:p>
        </p:txBody>
      </p:sp>
      <p:sp>
        <p:nvSpPr>
          <p:cNvPr id="596" name="TextBox 595"/>
          <p:cNvSpPr txBox="1"/>
          <p:nvPr/>
        </p:nvSpPr>
        <p:spPr>
          <a:xfrm>
            <a:off x="1981200" y="4985889"/>
            <a:ext cx="29206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latin typeface="Arial Narrow" pitchFamily="34" charset="0"/>
              </a:defRPr>
            </a:lvl1pPr>
          </a:lstStyle>
          <a:p>
            <a:r>
              <a:rPr lang="en-US" dirty="0"/>
              <a:t>Engagement </a:t>
            </a:r>
          </a:p>
        </p:txBody>
      </p:sp>
      <p:pic>
        <p:nvPicPr>
          <p:cNvPr id="597" name="Picture 596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61980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60098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5537883"/>
              </p:ext>
            </p:extLst>
          </p:nvPr>
        </p:nvGraphicFramePr>
        <p:xfrm>
          <a:off x="762000" y="1371600"/>
          <a:ext cx="7467600" cy="391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b="1" dirty="0">
                <a:latin typeface="Arial Narrow" pitchFamily="34" charset="0"/>
              </a:rPr>
              <a:t>Bar Chart : Trends and Item Comparis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14400" y="5257800"/>
            <a:ext cx="23958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latin typeface="Arial Narrow" pitchFamily="34" charset="0"/>
              </a:defRPr>
            </a:lvl1pPr>
          </a:lstStyle>
          <a:p>
            <a:r>
              <a:rPr lang="en-US" sz="1400" dirty="0"/>
              <a:t>Source: INEC, BudgIT Research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5791200"/>
            <a:ext cx="80010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err="1"/>
              <a:t>Xxxxxx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91101" y="290155"/>
            <a:ext cx="1239442" cy="46166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anose="020B0606020202030204" pitchFamily="34" charset="0"/>
              </a:rPr>
              <a:t>Samples </a:t>
            </a:r>
          </a:p>
        </p:txBody>
      </p:sp>
    </p:spTree>
    <p:extLst>
      <p:ext uri="{BB962C8B-B14F-4D97-AF65-F5344CB8AC3E}">
        <p14:creationId xmlns:p14="http://schemas.microsoft.com/office/powerpoint/2010/main" val="2033484386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248347908"/>
              </p:ext>
            </p:extLst>
          </p:nvPr>
        </p:nvGraphicFramePr>
        <p:xfrm>
          <a:off x="800100" y="152400"/>
          <a:ext cx="75438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2400" y="5570786"/>
            <a:ext cx="88392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yo-NG" b="1" dirty="0">
                <a:latin typeface="Arial Narrow" pitchFamily="34" charset="0"/>
              </a:rPr>
              <a:t>After the exit of Nigeria fro</a:t>
            </a:r>
            <a:r>
              <a:rPr lang="en-US" b="1" dirty="0">
                <a:latin typeface="Arial Narrow" pitchFamily="34" charset="0"/>
              </a:rPr>
              <a:t>m the Paris Club, amount used in servicing Nigeria’s external debt dropped . However, domestic debt service has risen with the appetite of Nigerian government for domestic bonds and treasury bills.</a:t>
            </a:r>
            <a:endParaRPr lang="yo-NG" b="1" dirty="0"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5800" y="5257800"/>
            <a:ext cx="2438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yo-NG" sz="1050" b="1" dirty="0"/>
              <a:t>Source: Federal Ministry of Finance </a:t>
            </a:r>
          </a:p>
        </p:txBody>
      </p:sp>
      <p:sp>
        <p:nvSpPr>
          <p:cNvPr id="2" name="Rectangle 1"/>
          <p:cNvSpPr/>
          <p:nvPr/>
        </p:nvSpPr>
        <p:spPr>
          <a:xfrm>
            <a:off x="-228600" y="-76200"/>
            <a:ext cx="9829800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2400" b="1" dirty="0">
                <a:latin typeface="Arial Narrow" pitchFamily="34" charset="0"/>
                <a:ea typeface="+mj-ea"/>
                <a:cs typeface="+mj-cs"/>
              </a:rPr>
              <a:t>Line Graphs: The relationship between two types of information</a:t>
            </a:r>
            <a:endParaRPr lang="en-US" sz="2400" b="1" dirty="0"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5701" y="990600"/>
            <a:ext cx="1239442" cy="46166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anose="020B0606020202030204" pitchFamily="34" charset="0"/>
              </a:rPr>
              <a:t>Samples </a:t>
            </a:r>
          </a:p>
        </p:txBody>
      </p:sp>
    </p:spTree>
    <p:extLst>
      <p:ext uri="{BB962C8B-B14F-4D97-AF65-F5344CB8AC3E}">
        <p14:creationId xmlns:p14="http://schemas.microsoft.com/office/powerpoint/2010/main" val="901532093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070956474"/>
              </p:ext>
            </p:extLst>
          </p:nvPr>
        </p:nvGraphicFramePr>
        <p:xfrm>
          <a:off x="1295400" y="1621809"/>
          <a:ext cx="66294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-304800" y="-76200"/>
            <a:ext cx="9525000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2800" b="1"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ie Chart: </a:t>
            </a:r>
            <a:r>
              <a:rPr lang="en-GB" dirty="0"/>
              <a:t>Compare Parts of the whole. </a:t>
            </a:r>
            <a:endParaRPr lang="yo-NG" dirty="0"/>
          </a:p>
        </p:txBody>
      </p:sp>
      <p:sp>
        <p:nvSpPr>
          <p:cNvPr id="8" name="TextBox 7"/>
          <p:cNvSpPr txBox="1"/>
          <p:nvPr/>
        </p:nvSpPr>
        <p:spPr>
          <a:xfrm>
            <a:off x="457200" y="5791200"/>
            <a:ext cx="80010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err="1"/>
              <a:t>Xxxxxx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85800" y="5257800"/>
            <a:ext cx="2438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yo-NG" sz="1050" b="1" dirty="0"/>
              <a:t>Source: Federal Ministry of Finance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24200" y="886781"/>
            <a:ext cx="35333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itchFamily="34" charset="0"/>
              </a:rPr>
              <a:t>Nigeria Uncompleted Projec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4800" y="655948"/>
            <a:ext cx="1239442" cy="46166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anose="020B0606020202030204" pitchFamily="34" charset="0"/>
              </a:rPr>
              <a:t>Samples </a:t>
            </a:r>
          </a:p>
        </p:txBody>
      </p:sp>
    </p:spTree>
    <p:extLst>
      <p:ext uri="{BB962C8B-B14F-4D97-AF65-F5344CB8AC3E}">
        <p14:creationId xmlns:p14="http://schemas.microsoft.com/office/powerpoint/2010/main" val="664451499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3643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Starting with Text boxe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5" r="58986" b="37313"/>
          <a:stretch/>
        </p:blipFill>
        <p:spPr bwMode="auto">
          <a:xfrm>
            <a:off x="990600" y="1143000"/>
            <a:ext cx="6934200" cy="4357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62000" y="5638800"/>
            <a:ext cx="7315200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1. Use the blank layout to start the text boxes.  </a:t>
            </a:r>
          </a:p>
          <a:p>
            <a:r>
              <a:rPr lang="en-US" dirty="0">
                <a:latin typeface="Arial Narrow" panose="020B0606020202030204" pitchFamily="34" charset="0"/>
              </a:rPr>
              <a:t>. </a:t>
            </a:r>
          </a:p>
        </p:txBody>
      </p:sp>
      <p:sp>
        <p:nvSpPr>
          <p:cNvPr id="6" name="Rectangle 5"/>
          <p:cNvSpPr/>
          <p:nvPr/>
        </p:nvSpPr>
        <p:spPr>
          <a:xfrm>
            <a:off x="3352800" y="3733800"/>
            <a:ext cx="1524000" cy="121920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72580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28600"/>
            <a:ext cx="27135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Using Text Boxe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29904" y="5453544"/>
            <a:ext cx="7315200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the insert option and choose  the Text box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Immediately type in a the required words such as words or numbers.  </a:t>
            </a:r>
          </a:p>
          <a:p>
            <a:endParaRPr lang="en-US" dirty="0">
              <a:latin typeface="Arial Narrow" panose="020B0606020202030204" pitchFamily="34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249714"/>
            <a:ext cx="6981825" cy="3688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>
            <a:off x="2590800" y="288295"/>
            <a:ext cx="952500" cy="140461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6943725" y="574511"/>
            <a:ext cx="952500" cy="140461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25546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143000"/>
            <a:ext cx="7000875" cy="4301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" y="228600"/>
            <a:ext cx="4233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Effectively Using Text boxes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57451" y="5638800"/>
            <a:ext cx="7315200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1. After choosing the text box by clicking on Insert, edit the content effectively by using the icon at the top.  </a:t>
            </a:r>
          </a:p>
        </p:txBody>
      </p:sp>
      <p:sp>
        <p:nvSpPr>
          <p:cNvPr id="6" name="Rectangle 5"/>
          <p:cNvSpPr/>
          <p:nvPr/>
        </p:nvSpPr>
        <p:spPr>
          <a:xfrm>
            <a:off x="3057099" y="1524000"/>
            <a:ext cx="2743200" cy="1219200"/>
          </a:xfrm>
          <a:prstGeom prst="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91166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143000"/>
            <a:ext cx="7921074" cy="46834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5" name="Straight Arrow Connector 4"/>
          <p:cNvCxnSpPr/>
          <p:nvPr/>
        </p:nvCxnSpPr>
        <p:spPr>
          <a:xfrm flipH="1">
            <a:off x="1981200" y="1066800"/>
            <a:ext cx="3124200" cy="2667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7658100" y="1140725"/>
            <a:ext cx="990600" cy="4412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57200" y="228600"/>
            <a:ext cx="28541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Clip Art Inclusion  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85800" y="5943599"/>
            <a:ext cx="7315200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Use clip art effectively by clicking on it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</a:t>
            </a:r>
            <a:r>
              <a:rPr lang="en-US" b="1" dirty="0">
                <a:latin typeface="Arial Narrow" panose="020B0606020202030204" pitchFamily="34" charset="0"/>
              </a:rPr>
              <a:t>“Go” </a:t>
            </a:r>
            <a:r>
              <a:rPr lang="en-US" dirty="0">
                <a:latin typeface="Arial Narrow" panose="020B0606020202030204" pitchFamily="34" charset="0"/>
              </a:rPr>
              <a:t>and choosing the effective icon that matches the right story.  </a:t>
            </a:r>
          </a:p>
        </p:txBody>
      </p:sp>
    </p:spTree>
    <p:extLst>
      <p:ext uri="{BB962C8B-B14F-4D97-AF65-F5344CB8AC3E}">
        <p14:creationId xmlns:p14="http://schemas.microsoft.com/office/powerpoint/2010/main" val="134466079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016000"/>
            <a:ext cx="6372225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57200" y="228600"/>
            <a:ext cx="24506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Creating Tables 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3886200" y="2971800"/>
            <a:ext cx="1066800" cy="19050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5295331" y="609600"/>
            <a:ext cx="1715069" cy="2856931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838200" y="6019800"/>
            <a:ext cx="7315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the Table icon on  the page.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hoose the number of rows and columns as required.  </a:t>
            </a:r>
          </a:p>
        </p:txBody>
      </p:sp>
    </p:spTree>
    <p:extLst>
      <p:ext uri="{BB962C8B-B14F-4D97-AF65-F5344CB8AC3E}">
        <p14:creationId xmlns:p14="http://schemas.microsoft.com/office/powerpoint/2010/main" val="57029610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60" y="1358331"/>
            <a:ext cx="880448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1317513" y="3428431"/>
            <a:ext cx="1066801" cy="180226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211281" y="118224"/>
            <a:ext cx="28632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Importing Pictures</a:t>
            </a:r>
          </a:p>
        </p:txBody>
      </p:sp>
      <p:sp>
        <p:nvSpPr>
          <p:cNvPr id="3" name="Rectangle 2"/>
          <p:cNvSpPr/>
          <p:nvPr/>
        </p:nvSpPr>
        <p:spPr>
          <a:xfrm>
            <a:off x="3276600" y="2209800"/>
            <a:ext cx="1143000" cy="2514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38200" y="6019800"/>
            <a:ext cx="7315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Click on the Pictures icon on  the page. 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Go to the required source document and import the appropriate document.  </a:t>
            </a:r>
          </a:p>
        </p:txBody>
      </p:sp>
    </p:spTree>
    <p:extLst>
      <p:ext uri="{BB962C8B-B14F-4D97-AF65-F5344CB8AC3E}">
        <p14:creationId xmlns:p14="http://schemas.microsoft.com/office/powerpoint/2010/main" val="215938882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399" y="1604272"/>
            <a:ext cx="5874545" cy="3424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11281" y="118224"/>
            <a:ext cx="37657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  <a:latin typeface="Arial Narrow" pitchFamily="34" charset="0"/>
              </a:rPr>
              <a:t>Using Shapes Effectively </a:t>
            </a:r>
          </a:p>
        </p:txBody>
      </p:sp>
      <p:sp>
        <p:nvSpPr>
          <p:cNvPr id="3" name="Rectangle 2"/>
          <p:cNvSpPr/>
          <p:nvPr/>
        </p:nvSpPr>
        <p:spPr>
          <a:xfrm rot="5400000">
            <a:off x="3915224" y="1571176"/>
            <a:ext cx="965200" cy="19376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6324600" y="2057400"/>
            <a:ext cx="1162844" cy="1143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38200" y="6019800"/>
            <a:ext cx="7315200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To use shapes to make designs, choose the appropriate shap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Use the Shape Fill and Outline to appropriately colour. </a:t>
            </a:r>
          </a:p>
        </p:txBody>
      </p:sp>
    </p:spTree>
    <p:extLst>
      <p:ext uri="{BB962C8B-B14F-4D97-AF65-F5344CB8AC3E}">
        <p14:creationId xmlns:p14="http://schemas.microsoft.com/office/powerpoint/2010/main" val="718571907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ardrop 6"/>
          <p:cNvSpPr/>
          <p:nvPr/>
        </p:nvSpPr>
        <p:spPr>
          <a:xfrm rot="9663796">
            <a:off x="4343780" y="1249778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ardrop 7"/>
          <p:cNvSpPr/>
          <p:nvPr/>
        </p:nvSpPr>
        <p:spPr>
          <a:xfrm rot="4280995">
            <a:off x="645062" y="2259226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ardrop 9"/>
          <p:cNvSpPr/>
          <p:nvPr/>
        </p:nvSpPr>
        <p:spPr>
          <a:xfrm rot="16894541">
            <a:off x="4602258" y="4866266"/>
            <a:ext cx="1508660" cy="1351848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ardrop 10"/>
          <p:cNvSpPr/>
          <p:nvPr/>
        </p:nvSpPr>
        <p:spPr>
          <a:xfrm rot="20823481">
            <a:off x="2768031" y="4959176"/>
            <a:ext cx="1446385" cy="1527657"/>
          </a:xfrm>
          <a:prstGeom prst="teardrop">
            <a:avLst>
              <a:gd name="adj" fmla="val 97706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ardrop 11"/>
          <p:cNvSpPr/>
          <p:nvPr/>
        </p:nvSpPr>
        <p:spPr>
          <a:xfrm rot="7842308">
            <a:off x="2385891" y="1115883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729223" y="164388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DMO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90600" y="2394501"/>
            <a:ext cx="152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 i="1"/>
            </a:lvl1pPr>
          </a:lstStyle>
          <a:p>
            <a:r>
              <a:rPr lang="en-US" sz="2000" dirty="0"/>
              <a:t>Budget </a:t>
            </a:r>
          </a:p>
          <a:p>
            <a:r>
              <a:rPr lang="en-US" sz="2000" dirty="0"/>
              <a:t>Offic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95800" y="1650871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Accountant- General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02783" y="4227478"/>
            <a:ext cx="2320636" cy="1425834"/>
            <a:chOff x="1032164" y="4457858"/>
            <a:chExt cx="2320636" cy="1425834"/>
          </a:xfrm>
        </p:grpSpPr>
        <p:sp>
          <p:nvSpPr>
            <p:cNvPr id="9" name="Teardrop 8"/>
            <p:cNvSpPr/>
            <p:nvPr/>
          </p:nvSpPr>
          <p:spPr>
            <a:xfrm>
              <a:off x="1032164" y="4457858"/>
              <a:ext cx="1744110" cy="1425834"/>
            </a:xfrm>
            <a:prstGeom prst="teardrop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156441" y="4800600"/>
              <a:ext cx="219635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i="1" dirty="0"/>
                <a:t>International </a:t>
              </a:r>
            </a:p>
            <a:p>
              <a:r>
                <a:rPr lang="en-US" sz="1400" b="1" i="1" dirty="0"/>
                <a:t>Research </a:t>
              </a:r>
            </a:p>
            <a:p>
              <a:r>
                <a:rPr lang="en-US" sz="1400" b="1" i="1" dirty="0"/>
                <a:t>Platforms 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748051" y="5220903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dirty="0"/>
              <a:t>NNPC </a:t>
            </a:r>
            <a:endParaRPr lang="en-US" sz="2400" b="1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3061441" y="5197609"/>
            <a:ext cx="21963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/>
              <a:t>National </a:t>
            </a:r>
          </a:p>
          <a:p>
            <a:r>
              <a:rPr lang="en-US" sz="1400" b="1" i="1" dirty="0"/>
              <a:t>Planning </a:t>
            </a:r>
          </a:p>
          <a:p>
            <a:r>
              <a:rPr lang="en-US" sz="1400" b="1" i="1" dirty="0"/>
              <a:t>Commission </a:t>
            </a:r>
          </a:p>
        </p:txBody>
      </p:sp>
      <p:sp>
        <p:nvSpPr>
          <p:cNvPr id="21" name="Teardrop 20"/>
          <p:cNvSpPr/>
          <p:nvPr/>
        </p:nvSpPr>
        <p:spPr>
          <a:xfrm rot="11843006">
            <a:off x="6353912" y="1339189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ardrop 21"/>
          <p:cNvSpPr/>
          <p:nvPr/>
        </p:nvSpPr>
        <p:spPr>
          <a:xfrm rot="16200000">
            <a:off x="6571255" y="4656818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  <a:ea typeface="+mn-ea"/>
                <a:cs typeface="+mn-cs"/>
              </a:rPr>
              <a:t>Public Finance: Data Points </a:t>
            </a:r>
          </a:p>
        </p:txBody>
      </p:sp>
      <p:sp>
        <p:nvSpPr>
          <p:cNvPr id="23" name="Teardrop 22"/>
          <p:cNvSpPr/>
          <p:nvPr/>
        </p:nvSpPr>
        <p:spPr>
          <a:xfrm rot="14649618">
            <a:off x="7388672" y="3131121"/>
            <a:ext cx="1744110" cy="1425834"/>
          </a:xfrm>
          <a:prstGeom prst="teardrop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477000" y="1748170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Central Bank of Nigeria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498727" y="3520872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Accountant- General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086600" y="4886847"/>
            <a:ext cx="15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/>
              <a:t>FIRS &amp; Customs </a:t>
            </a:r>
          </a:p>
        </p:txBody>
      </p:sp>
      <p:pic>
        <p:nvPicPr>
          <p:cNvPr id="24" name="Picture 23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32657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988332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701" y="883053"/>
            <a:ext cx="8362950" cy="505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43200" y="228600"/>
            <a:ext cx="4269117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spcBef>
                <a:spcPct val="0"/>
              </a:spcBef>
              <a:buNone/>
              <a:defRPr sz="2800" b="1"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Infographics Example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1817" y="6096000"/>
            <a:ext cx="20217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latin typeface="Arial Narrow" pitchFamily="34" charset="0"/>
              </a:rPr>
              <a:t>Source: Nigerian Navy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91101" y="290155"/>
            <a:ext cx="1239442" cy="46166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anose="020B0606020202030204" pitchFamily="34" charset="0"/>
              </a:rPr>
              <a:t>Samples 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98828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238250"/>
            <a:ext cx="7515225" cy="531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295400" y="279971"/>
            <a:ext cx="623920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latin typeface="Arial Narrow" pitchFamily="34" charset="0"/>
              </a:rPr>
              <a:t>Infographics using Shapes &amp; Object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6200" y="341525"/>
            <a:ext cx="1239442" cy="46166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Arial Narrow" panose="020B0606020202030204" pitchFamily="34" charset="0"/>
              </a:rPr>
              <a:t>Samples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74769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3324949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Infographics Not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 Narrow" pitchFamily="34" charset="0"/>
              </a:rPr>
              <a:t>Dimension Objects with values </a:t>
            </a:r>
          </a:p>
          <a:p>
            <a:r>
              <a:rPr lang="en-US" sz="2800" dirty="0">
                <a:latin typeface="Arial Narrow" pitchFamily="34" charset="0"/>
              </a:rPr>
              <a:t>Use Colors Appropriately </a:t>
            </a:r>
          </a:p>
          <a:p>
            <a:r>
              <a:rPr lang="en-US" sz="2800" dirty="0">
                <a:latin typeface="Arial Narrow" pitchFamily="34" charset="0"/>
              </a:rPr>
              <a:t>Use Text Appropriately with Bold numbers</a:t>
            </a:r>
          </a:p>
          <a:p>
            <a:r>
              <a:rPr lang="en-US" sz="2800" dirty="0">
                <a:latin typeface="Arial Narrow" pitchFamily="34" charset="0"/>
              </a:rPr>
              <a:t>Work with Sequence </a:t>
            </a:r>
          </a:p>
          <a:p>
            <a:r>
              <a:rPr lang="en-US" sz="2800" dirty="0">
                <a:latin typeface="Arial Narrow" pitchFamily="34" charset="0"/>
              </a:rPr>
              <a:t>Clarity of Message and Story  </a:t>
            </a:r>
          </a:p>
          <a:p>
            <a:endParaRPr lang="en-US" sz="2800" dirty="0">
              <a:latin typeface="Arial Narrow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" descr="C:\Users\budgIT\Downloads\logo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649" y="6045958"/>
            <a:ext cx="1391479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62139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33400" y="1017411"/>
            <a:ext cx="8229600" cy="3478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3000" b="1">
                <a:solidFill>
                  <a:schemeClr val="accent5">
                    <a:lumMod val="50000"/>
                  </a:schemeClr>
                </a:solidFill>
                <a:latin typeface="Candara" pitchFamily="34" charset="0"/>
              </a:defRPr>
            </a:lvl1pPr>
          </a:lstStyle>
          <a:p>
            <a:endParaRPr lang="en-US" sz="4000" dirty="0">
              <a:solidFill>
                <a:schemeClr val="tx1"/>
              </a:solidFill>
              <a:latin typeface="Arial Narrow" pitchFamily="34" charset="0"/>
            </a:endParaRPr>
          </a:p>
          <a:p>
            <a:r>
              <a:rPr lang="en-US" sz="4000" dirty="0">
                <a:solidFill>
                  <a:schemeClr val="tx1"/>
                </a:solidFill>
                <a:latin typeface="Arial Narrow" pitchFamily="34" charset="0"/>
              </a:rPr>
              <a:t>Infogr.am &amp; </a:t>
            </a:r>
            <a:r>
              <a:rPr lang="en-US" sz="4000" dirty="0" err="1">
                <a:solidFill>
                  <a:schemeClr val="tx1"/>
                </a:solidFill>
                <a:latin typeface="Arial Narrow" pitchFamily="34" charset="0"/>
              </a:rPr>
              <a:t>DataWrapper</a:t>
            </a:r>
            <a:r>
              <a:rPr lang="en-US" sz="4000" dirty="0">
                <a:solidFill>
                  <a:schemeClr val="tx1"/>
                </a:solidFill>
                <a:latin typeface="Arial Narrow" pitchFamily="34" charset="0"/>
              </a:rPr>
              <a:t>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  <a:p>
            <a:r>
              <a:rPr lang="en-US" sz="2400" b="0" dirty="0">
                <a:solidFill>
                  <a:schemeClr val="tx1"/>
                </a:solidFill>
                <a:latin typeface="Arial Narrow" pitchFamily="34" charset="0"/>
              </a:rPr>
              <a:t> Developing  Simple Charts and Visualisations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  <a:p>
            <a:pPr algn="l"/>
            <a:r>
              <a:rPr lang="en-US" sz="2400" b="0" dirty="0">
                <a:solidFill>
                  <a:schemeClr val="tx1"/>
                </a:solidFill>
                <a:latin typeface="Arial Narrow" pitchFamily="34" charset="0"/>
              </a:rPr>
              <a:t> </a:t>
            </a:r>
          </a:p>
          <a:p>
            <a:pPr algn="l"/>
            <a:endParaRPr lang="en-US" sz="2400" b="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3" descr="C:\Users\budgIT\Downloads\logo\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649" y="6045958"/>
            <a:ext cx="1391479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4776490"/>
      </p:ext>
    </p:extLst>
  </p:cSld>
  <p:clrMapOvr>
    <a:masterClrMapping/>
  </p:clrMapOvr>
  <p:transition>
    <p:wipe/>
    <p:sndAc>
      <p:stSnd>
        <p:snd r:embed="rId3" name="applause.wav"/>
      </p:stSnd>
    </p:sndAc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Wrapper – </a:t>
            </a:r>
            <a:r>
              <a:rPr lang="en-US" dirty="0" err="1"/>
              <a:t>datawrapper.de</a:t>
            </a:r>
            <a:endParaRPr lang="en-US" dirty="0"/>
          </a:p>
        </p:txBody>
      </p:sp>
      <p:pic>
        <p:nvPicPr>
          <p:cNvPr id="4" name="Content Placeholder 3" descr="Screen Shot 2016-12-12 at 10.21.09 AM.png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33" r="943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0437662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04" b="27952"/>
          <a:stretch/>
        </p:blipFill>
        <p:spPr bwMode="auto">
          <a:xfrm>
            <a:off x="311150" y="1143000"/>
            <a:ext cx="7918450" cy="4897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2461508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 err="1">
                <a:latin typeface="Arial Narrow" pitchFamily="34" charset="0"/>
                <a:ea typeface="+mn-ea"/>
                <a:cs typeface="+mn-cs"/>
              </a:rPr>
              <a:t>DataWrapper</a:t>
            </a:r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 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2819400" y="1371600"/>
            <a:ext cx="1450975" cy="1600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838200" y="6260068"/>
            <a:ext cx="7315200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 Narrow" panose="020B0606020202030204" pitchFamily="34" charset="0"/>
              </a:rPr>
              <a:t>Prepare your document in Excel Sheet and save in a CSV format.</a:t>
            </a:r>
          </a:p>
        </p:txBody>
      </p:sp>
    </p:spTree>
    <p:extLst>
      <p:ext uri="{BB962C8B-B14F-4D97-AF65-F5344CB8AC3E}">
        <p14:creationId xmlns:p14="http://schemas.microsoft.com/office/powerpoint/2010/main" val="1330901923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3" descr="C:\Users\budgIT\Downloads\logo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649" y="6045958"/>
            <a:ext cx="1391479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54" y="1347788"/>
            <a:ext cx="8674491" cy="368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5248296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 err="1">
                <a:latin typeface="Arial Narrow" pitchFamily="34" charset="0"/>
                <a:ea typeface="+mn-ea"/>
                <a:cs typeface="+mn-cs"/>
              </a:rPr>
              <a:t>DataWrapper</a:t>
            </a:r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 (datawrapper.de)  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55811" y="5029200"/>
            <a:ext cx="8832377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Arial Narrow" panose="020B0606020202030204" pitchFamily="34" charset="0"/>
              </a:rPr>
              <a:t>Login to the website (datawrapper.de). 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>
                <a:latin typeface="Arial Narrow" panose="020B0606020202030204" pitchFamily="34" charset="0"/>
              </a:rPr>
              <a:t>Upload the Document in CSV format</a:t>
            </a:r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33400" y="3810000"/>
            <a:ext cx="1600200" cy="6858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013428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371" y="990600"/>
            <a:ext cx="8305800" cy="4443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3" descr="C:\Users\budgIT\Downloads\logo\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649" y="6045958"/>
            <a:ext cx="1391479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2461508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 err="1">
                <a:latin typeface="Arial Narrow" pitchFamily="34" charset="0"/>
                <a:ea typeface="+mn-ea"/>
                <a:cs typeface="+mn-cs"/>
              </a:rPr>
              <a:t>DataWrapper</a:t>
            </a:r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  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82811" y="5282625"/>
            <a:ext cx="8832377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Open the website (datawrapper.de).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Upload  the Document CSV format</a:t>
            </a:r>
          </a:p>
        </p:txBody>
      </p:sp>
      <p:sp>
        <p:nvSpPr>
          <p:cNvPr id="2" name="Rectangle 1"/>
          <p:cNvSpPr/>
          <p:nvPr/>
        </p:nvSpPr>
        <p:spPr>
          <a:xfrm>
            <a:off x="5257800" y="2057400"/>
            <a:ext cx="990600" cy="914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5715000" y="228600"/>
            <a:ext cx="1219200" cy="84851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824266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4" t="2163" r="9827"/>
          <a:stretch/>
        </p:blipFill>
        <p:spPr bwMode="auto">
          <a:xfrm>
            <a:off x="304800" y="1219200"/>
            <a:ext cx="85344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4826514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Visualizing on </a:t>
            </a:r>
            <a:r>
              <a:rPr lang="en-US" sz="3200" b="1" dirty="0" err="1">
                <a:latin typeface="Arial Narrow" pitchFamily="34" charset="0"/>
                <a:ea typeface="+mn-ea"/>
                <a:cs typeface="+mn-cs"/>
              </a:rPr>
              <a:t>DataWrapper</a:t>
            </a:r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 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5410200" y="490140"/>
            <a:ext cx="1219200" cy="84851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7010400" y="2209800"/>
            <a:ext cx="990600" cy="914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82811" y="5892225"/>
            <a:ext cx="8832377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Follow the prompts and choose the appropriate chart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Publish the chart as picture or embed into the website. </a:t>
            </a:r>
          </a:p>
        </p:txBody>
      </p:sp>
    </p:spTree>
    <p:extLst>
      <p:ext uri="{BB962C8B-B14F-4D97-AF65-F5344CB8AC3E}">
        <p14:creationId xmlns:p14="http://schemas.microsoft.com/office/powerpoint/2010/main" val="1168770737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17"/>
          <a:stretch/>
        </p:blipFill>
        <p:spPr bwMode="auto">
          <a:xfrm>
            <a:off x="0" y="1389457"/>
            <a:ext cx="9123362" cy="385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4629729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Infogr.am Login (infogr.am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7162800" y="761999"/>
            <a:ext cx="1219200" cy="84851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4076700" y="2286000"/>
            <a:ext cx="990600" cy="914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311623" y="5878950"/>
            <a:ext cx="883237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Login into infogr.am website using a social link </a:t>
            </a:r>
          </a:p>
        </p:txBody>
      </p:sp>
    </p:spTree>
    <p:extLst>
      <p:ext uri="{BB962C8B-B14F-4D97-AF65-F5344CB8AC3E}">
        <p14:creationId xmlns:p14="http://schemas.microsoft.com/office/powerpoint/2010/main" val="230689240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Engagemen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1752600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 Narrow" pitchFamily="34" charset="0"/>
              </a:rPr>
              <a:t>Analysis </a:t>
            </a:r>
          </a:p>
          <a:p>
            <a:pPr lvl="1"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Baseline Analysis </a:t>
            </a:r>
          </a:p>
          <a:p>
            <a:pPr lvl="1"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Predictive Analysis</a:t>
            </a:r>
          </a:p>
          <a:p>
            <a:pPr lvl="1"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Trend Analysis  </a:t>
            </a:r>
          </a:p>
          <a:p>
            <a:pPr lvl="1">
              <a:buFont typeface="Wingdings" pitchFamily="2" charset="2"/>
              <a:buChar char="§"/>
            </a:pPr>
            <a:endParaRPr lang="en-US" sz="2000" dirty="0">
              <a:latin typeface="Arial Narrow" pitchFamily="34" charset="0"/>
            </a:endParaRPr>
          </a:p>
          <a:p>
            <a:pPr lvl="1">
              <a:buFont typeface="Wingdings" pitchFamily="2" charset="2"/>
              <a:buChar char="§"/>
            </a:pPr>
            <a:endParaRPr lang="en-US" sz="2000" dirty="0">
              <a:latin typeface="Arial Narrow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3276600"/>
            <a:ext cx="3367076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400" dirty="0">
                <a:latin typeface="Arial Narrow" pitchFamily="34" charset="0"/>
              </a:rPr>
              <a:t>Visualisation (Examples) </a:t>
            </a:r>
          </a:p>
          <a:p>
            <a:pPr marL="742950" lvl="1" indent="-28575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Charts and Graphs </a:t>
            </a:r>
          </a:p>
          <a:p>
            <a:pPr marL="742950" lvl="1" indent="-28575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Object design </a:t>
            </a:r>
          </a:p>
          <a:p>
            <a:pPr marL="742950" lvl="1" indent="-28575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Infographics </a:t>
            </a:r>
          </a:p>
          <a:p>
            <a:pPr marL="742950" lvl="1" indent="-285750">
              <a:spcBef>
                <a:spcPct val="20000"/>
              </a:spcBef>
              <a:buFont typeface="Wingdings" pitchFamily="2" charset="2"/>
              <a:buChar char="§"/>
            </a:pPr>
            <a:r>
              <a:rPr lang="en-US" sz="2000" dirty="0">
                <a:latin typeface="Arial Narrow" pitchFamily="34" charset="0"/>
              </a:rPr>
              <a:t>Interactive Applications </a:t>
            </a:r>
          </a:p>
        </p:txBody>
      </p:sp>
      <p:sp>
        <p:nvSpPr>
          <p:cNvPr id="5" name="Rectangle 4"/>
          <p:cNvSpPr/>
          <p:nvPr/>
        </p:nvSpPr>
        <p:spPr>
          <a:xfrm>
            <a:off x="-1361" y="5935297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60960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8668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25" y="1403746"/>
            <a:ext cx="767715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4967194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Begin Infographic (infogr.am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2667000" y="990600"/>
            <a:ext cx="4343400" cy="1447800"/>
          </a:xfrm>
          <a:prstGeom prst="straightConnector1">
            <a:avLst/>
          </a:prstGeom>
          <a:ln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4076700" y="2286000"/>
            <a:ext cx="990600" cy="914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311623" y="5878950"/>
            <a:ext cx="883237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 Narrow" panose="020B0606020202030204" pitchFamily="34" charset="0"/>
              </a:rPr>
              <a:t>Start by using the create icon </a:t>
            </a:r>
          </a:p>
        </p:txBody>
      </p:sp>
    </p:spTree>
    <p:extLst>
      <p:ext uri="{BB962C8B-B14F-4D97-AF65-F5344CB8AC3E}">
        <p14:creationId xmlns:p14="http://schemas.microsoft.com/office/powerpoint/2010/main" val="795360665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1247775"/>
            <a:ext cx="7410450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6496650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Choose Infogr.am  Template (infogr.am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03835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920" y="1143000"/>
            <a:ext cx="8342160" cy="5119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6684202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Use tools Infogr.am Template (infogr.am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7772400" y="2362200"/>
            <a:ext cx="1143000" cy="39000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364412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920" y="1143000"/>
            <a:ext cx="8342160" cy="5119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6684202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Use tools Infogr.am Template (infogr.am)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7772400" y="2362200"/>
            <a:ext cx="1143000" cy="39000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841080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26712"/>
            <a:ext cx="4820550" cy="584775"/>
          </a:xfrm>
        </p:spPr>
        <p:txBody>
          <a:bodyPr wrap="none">
            <a:spAutoFit/>
          </a:bodyPr>
          <a:lstStyle/>
          <a:p>
            <a:pPr algn="l"/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Use Chart tools on </a:t>
            </a:r>
            <a:r>
              <a:rPr lang="en-US" sz="3200" b="1" dirty="0" err="1">
                <a:latin typeface="Arial Narrow" pitchFamily="34" charset="0"/>
                <a:ea typeface="+mn-ea"/>
                <a:cs typeface="+mn-cs"/>
              </a:rPr>
              <a:t>Infogram</a:t>
            </a:r>
            <a:endParaRPr lang="en-US" sz="3200" b="1" dirty="0"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838200"/>
            <a:ext cx="9144000" cy="15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124200" y="1219200"/>
            <a:ext cx="1143000" cy="39000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67" r="8975"/>
          <a:stretch/>
        </p:blipFill>
        <p:spPr bwMode="auto">
          <a:xfrm>
            <a:off x="50800" y="1155701"/>
            <a:ext cx="9017000" cy="498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 rot="5400000">
            <a:off x="1663700" y="63500"/>
            <a:ext cx="2438400" cy="5664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507704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3505200"/>
            <a:ext cx="7848600" cy="2620963"/>
          </a:xfrm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r>
              <a:rPr lang="en-US" b="1" dirty="0" err="1">
                <a:latin typeface="Candara" pitchFamily="34" charset="0"/>
              </a:rPr>
              <a:t>yourbudgit.com</a:t>
            </a:r>
            <a:r>
              <a:rPr lang="en-US" b="1" dirty="0">
                <a:latin typeface="Candara" pitchFamily="34" charset="0"/>
              </a:rPr>
              <a:t> </a:t>
            </a:r>
          </a:p>
          <a:p>
            <a:pPr marL="0" indent="0" algn="ctr">
              <a:buNone/>
            </a:pPr>
            <a:r>
              <a:rPr lang="en-US" b="1" dirty="0">
                <a:latin typeface="Candara" pitchFamily="34" charset="0"/>
              </a:rPr>
              <a:t>@</a:t>
            </a:r>
            <a:r>
              <a:rPr lang="en-US" b="1" dirty="0" err="1">
                <a:latin typeface="Candara" pitchFamily="34" charset="0"/>
              </a:rPr>
              <a:t>budgitng</a:t>
            </a: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r>
              <a:rPr lang="en-US" b="1" dirty="0">
                <a:latin typeface="Candara" pitchFamily="34" charset="0"/>
              </a:rPr>
              <a:t>facebook.com/</a:t>
            </a:r>
            <a:r>
              <a:rPr lang="en-US" b="1" dirty="0" err="1">
                <a:latin typeface="Candara" pitchFamily="34" charset="0"/>
              </a:rPr>
              <a:t>budgitng</a:t>
            </a:r>
            <a:endParaRPr lang="en-US" b="1" dirty="0">
              <a:latin typeface="Candara" pitchFamily="34" charset="0"/>
            </a:endParaRPr>
          </a:p>
          <a:p>
            <a:pPr marL="0" indent="0" algn="ctr">
              <a:buNone/>
            </a:pPr>
            <a:r>
              <a:rPr lang="en-US" b="1" dirty="0" err="1">
                <a:latin typeface="Candara" pitchFamily="34" charset="0"/>
              </a:rPr>
              <a:t>info@yourbudgit.com</a:t>
            </a:r>
            <a:endParaRPr lang="en-US" b="1" dirty="0">
              <a:latin typeface="Candara" pitchFamily="34" charset="0"/>
            </a:endParaRPr>
          </a:p>
        </p:txBody>
      </p:sp>
      <p:pic>
        <p:nvPicPr>
          <p:cNvPr id="4" name="Picture 3" descr="Budgit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2209800"/>
            <a:ext cx="4627803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410409"/>
      </p:ext>
    </p:extLst>
  </p:cSld>
  <p:clrMapOvr>
    <a:masterClrMapping/>
  </p:clrMapOvr>
  <p:transition>
    <p:wipe/>
    <p:sndAc>
      <p:stSnd>
        <p:snd r:embed="rId2" name="applause.wav"/>
      </p:stSnd>
    </p:sndAc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4366" y="522973"/>
            <a:ext cx="2855269" cy="646331"/>
          </a:xfr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latin typeface="Arial Narrow" pitchFamily="34" charset="0"/>
                <a:ea typeface="+mn-ea"/>
                <a:cs typeface="+mn-cs"/>
              </a:rPr>
              <a:t>Data Sourc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4031"/>
            <a:ext cx="8229600" cy="452596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400" dirty="0">
                <a:latin typeface="Arial Narrow" pitchFamily="34" charset="0"/>
              </a:rPr>
              <a:t>Data Sourcing </a:t>
            </a:r>
          </a:p>
          <a:p>
            <a:pPr lvl="1">
              <a:buFont typeface="Wingdings" pitchFamily="2" charset="2"/>
              <a:buChar char="Ø"/>
            </a:pPr>
            <a:r>
              <a:rPr lang="en-US" sz="2000" dirty="0">
                <a:latin typeface="Arial Narrow" pitchFamily="34" charset="0"/>
              </a:rPr>
              <a:t>Primary Data Sources </a:t>
            </a:r>
          </a:p>
          <a:p>
            <a:pPr lvl="1">
              <a:buFont typeface="Wingdings" pitchFamily="2" charset="2"/>
              <a:buChar char="Ø"/>
            </a:pPr>
            <a:r>
              <a:rPr lang="en-US" sz="2000" dirty="0">
                <a:latin typeface="Arial Narrow" pitchFamily="34" charset="0"/>
              </a:rPr>
              <a:t>Secondary Data Sources </a:t>
            </a:r>
          </a:p>
          <a:p>
            <a:pPr lvl="1">
              <a:buFont typeface="Wingdings" pitchFamily="2" charset="2"/>
              <a:buChar char="Ø"/>
            </a:pPr>
            <a:r>
              <a:rPr lang="en-US" sz="2000" dirty="0">
                <a:latin typeface="Arial Narrow" pitchFamily="34" charset="0"/>
              </a:rPr>
              <a:t>Inferred Data Sources </a:t>
            </a:r>
          </a:p>
          <a:p>
            <a:pPr marL="0" indent="0">
              <a:buNone/>
            </a:pPr>
            <a:endParaRPr lang="en-US" sz="2400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US" sz="2400" dirty="0">
                <a:latin typeface="Arial Narrow" pitchFamily="34" charset="0"/>
              </a:rPr>
              <a:t>Accessing Data Integrity</a:t>
            </a:r>
          </a:p>
          <a:p>
            <a:pPr lvl="1"/>
            <a:r>
              <a:rPr lang="en-US" sz="2000" dirty="0">
                <a:latin typeface="Arial Narrow" pitchFamily="34" charset="0"/>
              </a:rPr>
              <a:t>The Signal and Noise Scenarios </a:t>
            </a:r>
          </a:p>
          <a:p>
            <a:pPr lvl="1"/>
            <a:r>
              <a:rPr lang="en-US" sz="2000" dirty="0">
                <a:latin typeface="Arial Narrow" pitchFamily="34" charset="0"/>
              </a:rPr>
              <a:t>Validating claim to source </a:t>
            </a:r>
          </a:p>
          <a:p>
            <a:pPr marL="0" indent="0">
              <a:buNone/>
            </a:pPr>
            <a:endParaRPr lang="en-US" sz="2400" dirty="0">
              <a:latin typeface="Arial Narrow" pitchFamily="34" charset="0"/>
            </a:endParaRPr>
          </a:p>
          <a:p>
            <a:pPr marL="0" indent="0">
              <a:buNone/>
            </a:pPr>
            <a:r>
              <a:rPr lang="en-US" sz="2400" dirty="0">
                <a:latin typeface="Arial Narrow" pitchFamily="34" charset="0"/>
              </a:rPr>
              <a:t>Understanding types of sources</a:t>
            </a:r>
          </a:p>
          <a:p>
            <a:pPr lvl="1" indent="-342900">
              <a:buFont typeface="Wingdings" pitchFamily="2" charset="2"/>
              <a:buChar char="§"/>
            </a:pPr>
            <a:r>
              <a:rPr lang="fr-FR" sz="2000" dirty="0">
                <a:latin typeface="Arial Narrow" pitchFamily="34" charset="0"/>
              </a:rPr>
              <a:t>Documents</a:t>
            </a:r>
          </a:p>
          <a:p>
            <a:pPr lvl="1" indent="-342900">
              <a:buFont typeface="Wingdings" pitchFamily="2" charset="2"/>
              <a:buChar char="§"/>
            </a:pPr>
            <a:r>
              <a:rPr lang="fr-FR" sz="2000" dirty="0">
                <a:latin typeface="Arial Narrow" pitchFamily="34" charset="0"/>
              </a:rPr>
              <a:t>Observations </a:t>
            </a:r>
          </a:p>
          <a:p>
            <a:pPr lvl="1" indent="-342900">
              <a:buFont typeface="Wingdings" pitchFamily="2" charset="2"/>
              <a:buChar char="§"/>
            </a:pPr>
            <a:r>
              <a:rPr lang="fr-FR" sz="2000" dirty="0">
                <a:latin typeface="Arial Narrow" pitchFamily="34" charset="0"/>
              </a:rPr>
              <a:t>Questionnaires </a:t>
            </a:r>
          </a:p>
          <a:p>
            <a:pPr lvl="1" indent="-342900">
              <a:buFont typeface="Wingdings" pitchFamily="2" charset="2"/>
              <a:buChar char="§"/>
            </a:pPr>
            <a:r>
              <a:rPr lang="fr-FR" sz="2000" dirty="0">
                <a:latin typeface="Arial Narrow" pitchFamily="34" charset="0"/>
              </a:rPr>
              <a:t>Interviews </a:t>
            </a:r>
          </a:p>
          <a:p>
            <a:pPr marL="0" indent="0">
              <a:buNone/>
            </a:pPr>
            <a:r>
              <a:rPr lang="en-US" sz="2400" dirty="0">
                <a:latin typeface="Arial Narrow" pitchFamily="34" charset="0"/>
              </a:rPr>
              <a:t> </a:t>
            </a:r>
          </a:p>
          <a:p>
            <a:pPr marL="0" indent="0">
              <a:buNone/>
            </a:pPr>
            <a:endParaRPr lang="en-US" sz="2400" dirty="0">
              <a:latin typeface="Arial Narrow" pitchFamily="34" charset="0"/>
            </a:endParaRPr>
          </a:p>
          <a:p>
            <a:endParaRPr lang="en-US" sz="2000" dirty="0">
              <a:latin typeface="Arial Narrow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60198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902637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2618" y="307529"/>
            <a:ext cx="3438762" cy="1077218"/>
          </a:xfrm>
          <a:noFill/>
        </p:spPr>
        <p:txBody>
          <a:bodyPr vert="horz" wrap="none" lIns="91440" tIns="45720" rIns="91440" bIns="45720" rtlCol="0" anchor="ctr">
            <a:spAutoFit/>
          </a:bodyPr>
          <a:lstStyle/>
          <a:p>
            <a:r>
              <a:rPr lang="en-US" sz="3200" b="1" dirty="0">
                <a:latin typeface="Arial Narrow" pitchFamily="34" charset="0"/>
                <a:ea typeface="+mn-ea"/>
                <a:cs typeface="+mn-cs"/>
              </a:rPr>
              <a:t>Data  Analysis Tools</a:t>
            </a:r>
            <a:br>
              <a:rPr lang="en-US" sz="3200" b="1" dirty="0">
                <a:latin typeface="Arial Narrow" pitchFamily="34" charset="0"/>
                <a:ea typeface="+mn-ea"/>
                <a:cs typeface="+mn-cs"/>
              </a:rPr>
            </a:br>
            <a:endParaRPr lang="en-US" sz="3200" b="1" dirty="0"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525963"/>
          </a:xfrm>
        </p:spPr>
        <p:txBody>
          <a:bodyPr>
            <a:normAutofit/>
          </a:bodyPr>
          <a:lstStyle/>
          <a:p>
            <a:endParaRPr lang="en-US" sz="2400" dirty="0">
              <a:latin typeface="Arial Narrow" pitchFamily="34" charset="0"/>
            </a:endParaRPr>
          </a:p>
          <a:p>
            <a:r>
              <a:rPr lang="en-US" sz="2400" dirty="0">
                <a:latin typeface="Arial Narrow" pitchFamily="34" charset="0"/>
              </a:rPr>
              <a:t>Microsoft Excel </a:t>
            </a:r>
          </a:p>
          <a:p>
            <a:r>
              <a:rPr lang="en-US" sz="2400" dirty="0">
                <a:latin typeface="Arial Narrow" pitchFamily="34" charset="0"/>
              </a:rPr>
              <a:t>Online Spreadsheets </a:t>
            </a:r>
          </a:p>
          <a:p>
            <a:r>
              <a:rPr lang="en-US" sz="2400" dirty="0">
                <a:latin typeface="Arial Narrow" pitchFamily="34" charset="0"/>
              </a:rPr>
              <a:t>Fusion Tables </a:t>
            </a:r>
          </a:p>
          <a:p>
            <a:r>
              <a:rPr lang="en-US" sz="2400" dirty="0">
                <a:latin typeface="Arial Narrow" pitchFamily="34" charset="0"/>
              </a:rPr>
              <a:t>Tableau </a:t>
            </a:r>
          </a:p>
          <a:p>
            <a:pPr marL="0" indent="0">
              <a:buNone/>
            </a:pPr>
            <a:endParaRPr lang="en-US" sz="2400" dirty="0">
              <a:latin typeface="Arial Narrow" pitchFamily="34" charset="0"/>
            </a:endParaRPr>
          </a:p>
          <a:p>
            <a:r>
              <a:rPr lang="en-US" sz="2400" dirty="0">
                <a:latin typeface="Arial Narrow" pitchFamily="34" charset="0"/>
              </a:rPr>
              <a:t>Imaginations</a:t>
            </a:r>
          </a:p>
          <a:p>
            <a:r>
              <a:rPr lang="en-US" sz="2400" dirty="0">
                <a:latin typeface="Arial Narrow" pitchFamily="34" charset="0"/>
              </a:rPr>
              <a:t>Thoughts </a:t>
            </a:r>
          </a:p>
          <a:p>
            <a:r>
              <a:rPr lang="en-US" sz="2400" dirty="0">
                <a:latin typeface="Arial Narrow" pitchFamily="34" charset="0"/>
              </a:rPr>
              <a:t>Narrative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867400"/>
            <a:ext cx="9144000" cy="762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Budgit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6096000"/>
            <a:ext cx="1524000" cy="62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879079"/>
      </p:ext>
    </p:extLst>
  </p:cSld>
  <p:clrMapOvr>
    <a:masterClrMapping/>
  </p:clrMapOvr>
  <p:transition>
    <p:wipe/>
    <p:sndAc>
      <p:stSnd>
        <p:snd r:embed="rId2" name="applause.wav"/>
      </p:stSnd>
    </p:sndAc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OmgdXTxkaK2K1Md2Ya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OmgdXTxkaK2K1Md2Ya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66</TotalTime>
  <Words>1977</Words>
  <Application>Microsoft Office PowerPoint</Application>
  <PresentationFormat>On-screen Show (4:3)</PresentationFormat>
  <Paragraphs>719</Paragraphs>
  <Slides>7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76" baseType="lpstr">
      <vt:lpstr>Office Theme</vt:lpstr>
      <vt:lpstr>PowerPoint Presentation</vt:lpstr>
      <vt:lpstr> Data Appreciation and Analysis  </vt:lpstr>
      <vt:lpstr>What is Data? </vt:lpstr>
      <vt:lpstr>Worksheet – Choose Data, Knowledge, Information &amp; Presentation </vt:lpstr>
      <vt:lpstr>The Lifecycle of Data</vt:lpstr>
      <vt:lpstr>Public Finance: Data Points </vt:lpstr>
      <vt:lpstr>Data Engagement </vt:lpstr>
      <vt:lpstr>Data Sourcing </vt:lpstr>
      <vt:lpstr>Data  Analysis Tools </vt:lpstr>
      <vt:lpstr>  2.0   Data Lifecycle, Storytelling &amp; Visualisation   </vt:lpstr>
      <vt:lpstr>Data  Mining Process</vt:lpstr>
      <vt:lpstr>Data Collection </vt:lpstr>
      <vt:lpstr>Data Entry  </vt:lpstr>
      <vt:lpstr>Data Validation </vt:lpstr>
      <vt:lpstr>Restructuring the Metrics </vt:lpstr>
      <vt:lpstr>Data Publishing &amp; Effective Communication </vt:lpstr>
      <vt:lpstr>3.0 Data Publishing &amp; Effective Communication </vt:lpstr>
      <vt:lpstr>Conversation &amp; Attention Span </vt:lpstr>
      <vt:lpstr>PowerPoint Presentation</vt:lpstr>
      <vt:lpstr>5 Rules of Visualisation</vt:lpstr>
      <vt:lpstr>The Art of Questioning </vt:lpstr>
      <vt:lpstr>STARTING OUT </vt:lpstr>
      <vt:lpstr>DIMENSION DATA </vt:lpstr>
      <vt:lpstr>CRAFT YOUR STORY </vt:lpstr>
      <vt:lpstr>infogr.am </vt:lpstr>
      <vt:lpstr>The Picture &amp; the Data</vt:lpstr>
      <vt:lpstr>Bar Chart : Trends and Item Comparison</vt:lpstr>
      <vt:lpstr>PowerPoint Presentation</vt:lpstr>
      <vt:lpstr>PowerPoint Presentation</vt:lpstr>
      <vt:lpstr>4.0 Data Publishing and Communication </vt:lpstr>
      <vt:lpstr>The White Space Phenomenon</vt:lpstr>
      <vt:lpstr>3D Charts</vt:lpstr>
      <vt:lpstr>Infographics </vt:lpstr>
      <vt:lpstr>PowerPoint Presentation</vt:lpstr>
      <vt:lpstr>PowerPoint Presentation</vt:lpstr>
      <vt:lpstr>Maps </vt:lpstr>
      <vt:lpstr>PowerPoint Presentation</vt:lpstr>
      <vt:lpstr>PowerPoint Presentation</vt:lpstr>
      <vt:lpstr>Not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r Chart : Trends and Item Comparis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fographics Notes </vt:lpstr>
      <vt:lpstr>PowerPoint Presentation</vt:lpstr>
      <vt:lpstr>DataWrapper – datawrapper.de</vt:lpstr>
      <vt:lpstr>DataWrapper  </vt:lpstr>
      <vt:lpstr>DataWrapper (datawrapper.de)  </vt:lpstr>
      <vt:lpstr>DataWrapper  </vt:lpstr>
      <vt:lpstr>Visualizing on DataWrapper  </vt:lpstr>
      <vt:lpstr>Infogr.am Login (infogr.am)</vt:lpstr>
      <vt:lpstr>Begin Infographic (infogr.am)</vt:lpstr>
      <vt:lpstr>Choose Infogr.am  Template (infogr.am)</vt:lpstr>
      <vt:lpstr>Use tools Infogr.am Template (infogr.am)</vt:lpstr>
      <vt:lpstr>Use tools Infogr.am Template (infogr.am)</vt:lpstr>
      <vt:lpstr>Use Chart tools on Infogram</vt:lpstr>
      <vt:lpstr>PowerPoint Presentation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dgIT</dc:creator>
  <cp:lastModifiedBy>user</cp:lastModifiedBy>
  <cp:revision>162</cp:revision>
  <dcterms:created xsi:type="dcterms:W3CDTF">2013-05-16T11:12:20Z</dcterms:created>
  <dcterms:modified xsi:type="dcterms:W3CDTF">2017-12-14T07:08:21Z</dcterms:modified>
</cp:coreProperties>
</file>